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72" r:id="rId4"/>
  </p:sldMasterIdLst>
  <p:notesMasterIdLst>
    <p:notesMasterId r:id="rId19"/>
  </p:notesMasterIdLst>
  <p:handoutMasterIdLst>
    <p:handoutMasterId r:id="rId20"/>
  </p:handoutMasterIdLst>
  <p:sldIdLst>
    <p:sldId id="841" r:id="rId5"/>
    <p:sldId id="589" r:id="rId6"/>
    <p:sldId id="844" r:id="rId7"/>
    <p:sldId id="845" r:id="rId8"/>
    <p:sldId id="2140753954" r:id="rId9"/>
    <p:sldId id="1524" r:id="rId10"/>
    <p:sldId id="2140753955" r:id="rId11"/>
    <p:sldId id="2140753957" r:id="rId12"/>
    <p:sldId id="2140753958" r:id="rId13"/>
    <p:sldId id="2140753959" r:id="rId14"/>
    <p:sldId id="2140753962" r:id="rId15"/>
    <p:sldId id="1559" r:id="rId16"/>
    <p:sldId id="1578" r:id="rId17"/>
    <p:sldId id="2140753963" r:id="rId18"/>
  </p:sldIdLst>
  <p:sldSz cx="9144000" cy="6858000" type="screen4x3"/>
  <p:notesSz cx="6858000" cy="9144000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4D4D4D"/>
    <a:srgbClr val="FFFFFF"/>
    <a:srgbClr val="F2F2F2"/>
    <a:srgbClr val="FF5050"/>
    <a:srgbClr val="325E74"/>
    <a:srgbClr val="0066CC"/>
    <a:srgbClr val="003399"/>
    <a:srgbClr val="4BAD93"/>
    <a:srgbClr val="EE6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B72D05F-3036-405C-8B2B-35ED5CAAFD83}" v="316" dt="2020-11-07T07:02:46.53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33" autoAdjust="0"/>
    <p:restoredTop sz="86716" autoAdjust="0"/>
  </p:normalViewPr>
  <p:slideViewPr>
    <p:cSldViewPr snapToGrid="0">
      <p:cViewPr varScale="1">
        <p:scale>
          <a:sx n="95" d="100"/>
          <a:sy n="95" d="100"/>
        </p:scale>
        <p:origin x="2082" y="7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80" d="100"/>
          <a:sy n="80" d="100"/>
        </p:scale>
        <p:origin x="3918" y="22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tricia Bourguignon" userId="7649c7a7-e9d4-4ca8-9965-19cea404e454" providerId="ADAL" clId="{FD343B29-0D55-446E-88D7-361F80EE7BB1}"/>
    <pc:docChg chg="custSel addSld delSld modSld">
      <pc:chgData name="Patricia Bourguignon" userId="7649c7a7-e9d4-4ca8-9965-19cea404e454" providerId="ADAL" clId="{FD343B29-0D55-446E-88D7-361F80EE7BB1}" dt="2020-11-07T07:04:16.247" v="1571" actId="2696"/>
      <pc:docMkLst>
        <pc:docMk/>
      </pc:docMkLst>
      <pc:sldChg chg="addSp delSp modSp add">
        <pc:chgData name="Patricia Bourguignon" userId="7649c7a7-e9d4-4ca8-9965-19cea404e454" providerId="ADAL" clId="{FD343B29-0D55-446E-88D7-361F80EE7BB1}" dt="2020-11-07T06:31:49.937" v="1324" actId="1076"/>
        <pc:sldMkLst>
          <pc:docMk/>
          <pc:sldMk cId="2659585244" sldId="589"/>
        </pc:sldMkLst>
        <pc:grpChg chg="del">
          <ac:chgData name="Patricia Bourguignon" userId="7649c7a7-e9d4-4ca8-9965-19cea404e454" providerId="ADAL" clId="{FD343B29-0D55-446E-88D7-361F80EE7BB1}" dt="2020-11-07T06:03:59.247" v="183" actId="478"/>
          <ac:grpSpMkLst>
            <pc:docMk/>
            <pc:sldMk cId="2659585244" sldId="589"/>
            <ac:grpSpMk id="2" creationId="{BFE956F4-C253-4A8F-B327-651AEEDF0006}"/>
          </ac:grpSpMkLst>
        </pc:grpChg>
        <pc:grpChg chg="topLvl">
          <ac:chgData name="Patricia Bourguignon" userId="7649c7a7-e9d4-4ca8-9965-19cea404e454" providerId="ADAL" clId="{FD343B29-0D55-446E-88D7-361F80EE7BB1}" dt="2020-11-07T06:04:01.650" v="184" actId="478"/>
          <ac:grpSpMkLst>
            <pc:docMk/>
            <pc:sldMk cId="2659585244" sldId="589"/>
            <ac:grpSpMk id="4" creationId="{1189E694-199B-4A9A-AD47-DC64E13F2109}"/>
          </ac:grpSpMkLst>
        </pc:grpChg>
        <pc:grpChg chg="del">
          <ac:chgData name="Patricia Bourguignon" userId="7649c7a7-e9d4-4ca8-9965-19cea404e454" providerId="ADAL" clId="{FD343B29-0D55-446E-88D7-361F80EE7BB1}" dt="2020-11-07T06:04:01.650" v="184" actId="478"/>
          <ac:grpSpMkLst>
            <pc:docMk/>
            <pc:sldMk cId="2659585244" sldId="589"/>
            <ac:grpSpMk id="5" creationId="{A857F1F1-A6D7-4C5C-BB6D-C6401E196129}"/>
          </ac:grpSpMkLst>
        </pc:grpChg>
        <pc:grpChg chg="topLvl">
          <ac:chgData name="Patricia Bourguignon" userId="7649c7a7-e9d4-4ca8-9965-19cea404e454" providerId="ADAL" clId="{FD343B29-0D55-446E-88D7-361F80EE7BB1}" dt="2020-11-07T06:03:59.247" v="183" actId="478"/>
          <ac:grpSpMkLst>
            <pc:docMk/>
            <pc:sldMk cId="2659585244" sldId="589"/>
            <ac:grpSpMk id="55" creationId="{02B49271-CA1F-4686-B62B-7B64315ED233}"/>
          </ac:grpSpMkLst>
        </pc:grpChg>
        <pc:picChg chg="del topLvl">
          <ac:chgData name="Patricia Bourguignon" userId="7649c7a7-e9d4-4ca8-9965-19cea404e454" providerId="ADAL" clId="{FD343B29-0D55-446E-88D7-361F80EE7BB1}" dt="2020-11-07T06:03:59.247" v="183" actId="478"/>
          <ac:picMkLst>
            <pc:docMk/>
            <pc:sldMk cId="2659585244" sldId="589"/>
            <ac:picMk id="26" creationId="{64171BFF-54BF-499D-AC56-7F09CB56DAA4}"/>
          </ac:picMkLst>
        </pc:picChg>
        <pc:picChg chg="del topLvl">
          <ac:chgData name="Patricia Bourguignon" userId="7649c7a7-e9d4-4ca8-9965-19cea404e454" providerId="ADAL" clId="{FD343B29-0D55-446E-88D7-361F80EE7BB1}" dt="2020-11-07T06:04:01.650" v="184" actId="478"/>
          <ac:picMkLst>
            <pc:docMk/>
            <pc:sldMk cId="2659585244" sldId="589"/>
            <ac:picMk id="27" creationId="{5A2F89C7-F719-4A80-91E6-B6E944FCAD58}"/>
          </ac:picMkLst>
        </pc:picChg>
        <pc:picChg chg="add mod">
          <ac:chgData name="Patricia Bourguignon" userId="7649c7a7-e9d4-4ca8-9965-19cea404e454" providerId="ADAL" clId="{FD343B29-0D55-446E-88D7-361F80EE7BB1}" dt="2020-11-07T06:04:28.001" v="189" actId="1076"/>
          <ac:picMkLst>
            <pc:docMk/>
            <pc:sldMk cId="2659585244" sldId="589"/>
            <ac:picMk id="28" creationId="{BAB3DF26-0684-44CD-B8E2-154C0C91C35D}"/>
          </ac:picMkLst>
        </pc:picChg>
        <pc:picChg chg="add mod">
          <ac:chgData name="Patricia Bourguignon" userId="7649c7a7-e9d4-4ca8-9965-19cea404e454" providerId="ADAL" clId="{FD343B29-0D55-446E-88D7-361F80EE7BB1}" dt="2020-11-07T06:31:49.937" v="1324" actId="1076"/>
          <ac:picMkLst>
            <pc:docMk/>
            <pc:sldMk cId="2659585244" sldId="589"/>
            <ac:picMk id="29" creationId="{E56D2D9D-E9D4-420B-B001-C17F73737963}"/>
          </ac:picMkLst>
        </pc:picChg>
      </pc:sldChg>
      <pc:sldChg chg="del">
        <pc:chgData name="Patricia Bourguignon" userId="7649c7a7-e9d4-4ca8-9965-19cea404e454" providerId="ADAL" clId="{FD343B29-0D55-446E-88D7-361F80EE7BB1}" dt="2020-11-07T06:26:12.489" v="1155" actId="2696"/>
        <pc:sldMkLst>
          <pc:docMk/>
          <pc:sldMk cId="26874441" sldId="667"/>
        </pc:sldMkLst>
      </pc:sldChg>
      <pc:sldChg chg="addSp modSp modNotesTx">
        <pc:chgData name="Patricia Bourguignon" userId="7649c7a7-e9d4-4ca8-9965-19cea404e454" providerId="ADAL" clId="{FD343B29-0D55-446E-88D7-361F80EE7BB1}" dt="2020-11-07T06:01:11.895" v="172" actId="1076"/>
        <pc:sldMkLst>
          <pc:docMk/>
          <pc:sldMk cId="938567324" sldId="841"/>
        </pc:sldMkLst>
        <pc:spChg chg="mod">
          <ac:chgData name="Patricia Bourguignon" userId="7649c7a7-e9d4-4ca8-9965-19cea404e454" providerId="ADAL" clId="{FD343B29-0D55-446E-88D7-361F80EE7BB1}" dt="2020-11-07T06:00:38.616" v="146" actId="1076"/>
          <ac:spMkLst>
            <pc:docMk/>
            <pc:sldMk cId="938567324" sldId="841"/>
            <ac:spMk id="6" creationId="{4905BAD3-4153-4B91-854D-F2F01185B0CC}"/>
          </ac:spMkLst>
        </pc:spChg>
        <pc:spChg chg="add mod">
          <ac:chgData name="Patricia Bourguignon" userId="7649c7a7-e9d4-4ca8-9965-19cea404e454" providerId="ADAL" clId="{FD343B29-0D55-446E-88D7-361F80EE7BB1}" dt="2020-11-07T06:01:02.472" v="170" actId="1076"/>
          <ac:spMkLst>
            <pc:docMk/>
            <pc:sldMk cId="938567324" sldId="841"/>
            <ac:spMk id="7" creationId="{BD18E222-1FA9-4D48-8B0A-56D35C2FD48F}"/>
          </ac:spMkLst>
        </pc:spChg>
        <pc:spChg chg="mod">
          <ac:chgData name="Patricia Bourguignon" userId="7649c7a7-e9d4-4ca8-9965-19cea404e454" providerId="ADAL" clId="{FD343B29-0D55-446E-88D7-361F80EE7BB1}" dt="2020-11-07T05:59:53.440" v="57" actId="1076"/>
          <ac:spMkLst>
            <pc:docMk/>
            <pc:sldMk cId="938567324" sldId="841"/>
            <ac:spMk id="9" creationId="{75FF0D87-116F-4C1F-A1F3-E8B6E0B97CCE}"/>
          </ac:spMkLst>
        </pc:spChg>
        <pc:spChg chg="mod">
          <ac:chgData name="Patricia Bourguignon" userId="7649c7a7-e9d4-4ca8-9965-19cea404e454" providerId="ADAL" clId="{FD343B29-0D55-446E-88D7-361F80EE7BB1}" dt="2020-11-07T06:00:35.047" v="143" actId="6549"/>
          <ac:spMkLst>
            <pc:docMk/>
            <pc:sldMk cId="938567324" sldId="841"/>
            <ac:spMk id="12" creationId="{F058AD2C-F4AE-4070-90AA-058A93D3E109}"/>
          </ac:spMkLst>
        </pc:spChg>
        <pc:graphicFrameChg chg="mod">
          <ac:chgData name="Patricia Bourguignon" userId="7649c7a7-e9d4-4ca8-9965-19cea404e454" providerId="ADAL" clId="{FD343B29-0D55-446E-88D7-361F80EE7BB1}" dt="2020-11-07T06:00:39.144" v="148"/>
          <ac:graphicFrameMkLst>
            <pc:docMk/>
            <pc:sldMk cId="938567324" sldId="841"/>
            <ac:graphicFrameMk id="13" creationId="{2B202176-7098-4E53-84CB-AD2E746DA35B}"/>
          </ac:graphicFrameMkLst>
        </pc:graphicFrameChg>
        <pc:picChg chg="mod">
          <ac:chgData name="Patricia Bourguignon" userId="7649c7a7-e9d4-4ca8-9965-19cea404e454" providerId="ADAL" clId="{FD343B29-0D55-446E-88D7-361F80EE7BB1}" dt="2020-11-07T06:01:11.895" v="172" actId="1076"/>
          <ac:picMkLst>
            <pc:docMk/>
            <pc:sldMk cId="938567324" sldId="841"/>
            <ac:picMk id="4" creationId="{FC24401D-36C1-4DCA-A74C-A122CCB18F8C}"/>
          </ac:picMkLst>
        </pc:picChg>
      </pc:sldChg>
      <pc:sldChg chg="del">
        <pc:chgData name="Patricia Bourguignon" userId="7649c7a7-e9d4-4ca8-9965-19cea404e454" providerId="ADAL" clId="{FD343B29-0D55-446E-88D7-361F80EE7BB1}" dt="2020-11-07T06:01:32.615" v="173" actId="2696"/>
        <pc:sldMkLst>
          <pc:docMk/>
          <pc:sldMk cId="845908404" sldId="842"/>
        </pc:sldMkLst>
      </pc:sldChg>
      <pc:sldChg chg="del">
        <pc:chgData name="Patricia Bourguignon" userId="7649c7a7-e9d4-4ca8-9965-19cea404e454" providerId="ADAL" clId="{FD343B29-0D55-446E-88D7-361F80EE7BB1}" dt="2020-11-07T06:01:32.634" v="174" actId="2696"/>
        <pc:sldMkLst>
          <pc:docMk/>
          <pc:sldMk cId="1240108518" sldId="843"/>
        </pc:sldMkLst>
      </pc:sldChg>
      <pc:sldChg chg="addSp delSp modSp">
        <pc:chgData name="Patricia Bourguignon" userId="7649c7a7-e9d4-4ca8-9965-19cea404e454" providerId="ADAL" clId="{FD343B29-0D55-446E-88D7-361F80EE7BB1}" dt="2020-11-07T06:05:46.441" v="195" actId="1076"/>
        <pc:sldMkLst>
          <pc:docMk/>
          <pc:sldMk cId="767008189" sldId="844"/>
        </pc:sldMkLst>
        <pc:spChg chg="del">
          <ac:chgData name="Patricia Bourguignon" userId="7649c7a7-e9d4-4ca8-9965-19cea404e454" providerId="ADAL" clId="{FD343B29-0D55-446E-88D7-361F80EE7BB1}" dt="2020-11-07T06:01:43.229" v="176" actId="478"/>
          <ac:spMkLst>
            <pc:docMk/>
            <pc:sldMk cId="767008189" sldId="844"/>
            <ac:spMk id="2" creationId="{F4F5E312-3157-4F41-BC06-0CE3968F6B5B}"/>
          </ac:spMkLst>
        </pc:spChg>
        <pc:spChg chg="add mod">
          <ac:chgData name="Patricia Bourguignon" userId="7649c7a7-e9d4-4ca8-9965-19cea404e454" providerId="ADAL" clId="{FD343B29-0D55-446E-88D7-361F80EE7BB1}" dt="2020-11-07T06:05:24.249" v="191" actId="1076"/>
          <ac:spMkLst>
            <pc:docMk/>
            <pc:sldMk cId="767008189" sldId="844"/>
            <ac:spMk id="4" creationId="{867329CF-5C95-46C1-8477-FC0023341642}"/>
          </ac:spMkLst>
        </pc:spChg>
        <pc:spChg chg="add mod">
          <ac:chgData name="Patricia Bourguignon" userId="7649c7a7-e9d4-4ca8-9965-19cea404e454" providerId="ADAL" clId="{FD343B29-0D55-446E-88D7-361F80EE7BB1}" dt="2020-11-07T06:05:24.249" v="191" actId="1076"/>
          <ac:spMkLst>
            <pc:docMk/>
            <pc:sldMk cId="767008189" sldId="844"/>
            <ac:spMk id="5" creationId="{904DF18C-4CF3-40EA-9629-21508E98FC5D}"/>
          </ac:spMkLst>
        </pc:spChg>
        <pc:spChg chg="add mod">
          <ac:chgData name="Patricia Bourguignon" userId="7649c7a7-e9d4-4ca8-9965-19cea404e454" providerId="ADAL" clId="{FD343B29-0D55-446E-88D7-361F80EE7BB1}" dt="2020-11-07T06:05:24.249" v="191" actId="1076"/>
          <ac:spMkLst>
            <pc:docMk/>
            <pc:sldMk cId="767008189" sldId="844"/>
            <ac:spMk id="6" creationId="{A85883C6-5F30-4CAB-B577-FD842BFB55EA}"/>
          </ac:spMkLst>
        </pc:spChg>
        <pc:picChg chg="mod modCrop">
          <ac:chgData name="Patricia Bourguignon" userId="7649c7a7-e9d4-4ca8-9965-19cea404e454" providerId="ADAL" clId="{FD343B29-0D55-446E-88D7-361F80EE7BB1}" dt="2020-11-07T06:05:46.441" v="195" actId="1076"/>
          <ac:picMkLst>
            <pc:docMk/>
            <pc:sldMk cId="767008189" sldId="844"/>
            <ac:picMk id="3" creationId="{92EA0537-7C5E-47CA-AE70-37E44E6F09D6}"/>
          </ac:picMkLst>
        </pc:picChg>
      </pc:sldChg>
      <pc:sldChg chg="addSp delSp modSp modNotesTx">
        <pc:chgData name="Patricia Bourguignon" userId="7649c7a7-e9d4-4ca8-9965-19cea404e454" providerId="ADAL" clId="{FD343B29-0D55-446E-88D7-361F80EE7BB1}" dt="2020-11-07T06:11:30.004" v="566" actId="478"/>
        <pc:sldMkLst>
          <pc:docMk/>
          <pc:sldMk cId="247228938" sldId="845"/>
        </pc:sldMkLst>
        <pc:spChg chg="del mod">
          <ac:chgData name="Patricia Bourguignon" userId="7649c7a7-e9d4-4ca8-9965-19cea404e454" providerId="ADAL" clId="{FD343B29-0D55-446E-88D7-361F80EE7BB1}" dt="2020-11-07T06:06:42.179" v="221" actId="478"/>
          <ac:spMkLst>
            <pc:docMk/>
            <pc:sldMk cId="247228938" sldId="845"/>
            <ac:spMk id="2" creationId="{ABA287AD-27FB-4205-86F2-E7FEAEB75C3B}"/>
          </ac:spMkLst>
        </pc:spChg>
        <pc:spChg chg="del mod">
          <ac:chgData name="Patricia Bourguignon" userId="7649c7a7-e9d4-4ca8-9965-19cea404e454" providerId="ADAL" clId="{FD343B29-0D55-446E-88D7-361F80EE7BB1}" dt="2020-11-07T06:06:42.179" v="221" actId="478"/>
          <ac:spMkLst>
            <pc:docMk/>
            <pc:sldMk cId="247228938" sldId="845"/>
            <ac:spMk id="78" creationId="{DD1149F4-5003-46B9-98ED-E45F9251D9DC}"/>
          </ac:spMkLst>
        </pc:spChg>
        <pc:spChg chg="del mod">
          <ac:chgData name="Patricia Bourguignon" userId="7649c7a7-e9d4-4ca8-9965-19cea404e454" providerId="ADAL" clId="{FD343B29-0D55-446E-88D7-361F80EE7BB1}" dt="2020-11-07T06:06:42.179" v="221" actId="478"/>
          <ac:spMkLst>
            <pc:docMk/>
            <pc:sldMk cId="247228938" sldId="845"/>
            <ac:spMk id="79" creationId="{A4BD1306-D0E2-44E8-8DE0-A20AD0C16500}"/>
          </ac:spMkLst>
        </pc:spChg>
        <pc:spChg chg="del mod">
          <ac:chgData name="Patricia Bourguignon" userId="7649c7a7-e9d4-4ca8-9965-19cea404e454" providerId="ADAL" clId="{FD343B29-0D55-446E-88D7-361F80EE7BB1}" dt="2020-11-07T06:06:42.179" v="221" actId="478"/>
          <ac:spMkLst>
            <pc:docMk/>
            <pc:sldMk cId="247228938" sldId="845"/>
            <ac:spMk id="80" creationId="{1A2F2B49-A101-4745-B306-35E828972B72}"/>
          </ac:spMkLst>
        </pc:spChg>
        <pc:spChg chg="del mod">
          <ac:chgData name="Patricia Bourguignon" userId="7649c7a7-e9d4-4ca8-9965-19cea404e454" providerId="ADAL" clId="{FD343B29-0D55-446E-88D7-361F80EE7BB1}" dt="2020-11-07T06:06:42.179" v="221" actId="478"/>
          <ac:spMkLst>
            <pc:docMk/>
            <pc:sldMk cId="247228938" sldId="845"/>
            <ac:spMk id="81" creationId="{62B92C48-44A4-4F4F-9D62-C39B456441EC}"/>
          </ac:spMkLst>
        </pc:spChg>
        <pc:spChg chg="del mod">
          <ac:chgData name="Patricia Bourguignon" userId="7649c7a7-e9d4-4ca8-9965-19cea404e454" providerId="ADAL" clId="{FD343B29-0D55-446E-88D7-361F80EE7BB1}" dt="2020-11-07T06:06:42.179" v="221" actId="478"/>
          <ac:spMkLst>
            <pc:docMk/>
            <pc:sldMk cId="247228938" sldId="845"/>
            <ac:spMk id="82" creationId="{D505E947-7460-4A97-8026-B232857EEE20}"/>
          </ac:spMkLst>
        </pc:spChg>
        <pc:spChg chg="del mod">
          <ac:chgData name="Patricia Bourguignon" userId="7649c7a7-e9d4-4ca8-9965-19cea404e454" providerId="ADAL" clId="{FD343B29-0D55-446E-88D7-361F80EE7BB1}" dt="2020-11-07T06:06:42.179" v="221" actId="478"/>
          <ac:spMkLst>
            <pc:docMk/>
            <pc:sldMk cId="247228938" sldId="845"/>
            <ac:spMk id="83" creationId="{C8116406-76DD-4EFB-BB88-FE22924325EC}"/>
          </ac:spMkLst>
        </pc:spChg>
        <pc:spChg chg="del mod ord">
          <ac:chgData name="Patricia Bourguignon" userId="7649c7a7-e9d4-4ca8-9965-19cea404e454" providerId="ADAL" clId="{FD343B29-0D55-446E-88D7-361F80EE7BB1}" dt="2020-11-07T06:11:30.004" v="566" actId="478"/>
          <ac:spMkLst>
            <pc:docMk/>
            <pc:sldMk cId="247228938" sldId="845"/>
            <ac:spMk id="135" creationId="{B783204A-1016-400D-B49F-B8BBE46B8B13}"/>
          </ac:spMkLst>
        </pc:spChg>
        <pc:spChg chg="del mod">
          <ac:chgData name="Patricia Bourguignon" userId="7649c7a7-e9d4-4ca8-9965-19cea404e454" providerId="ADAL" clId="{FD343B29-0D55-446E-88D7-361F80EE7BB1}" dt="2020-11-07T06:06:42.179" v="221" actId="478"/>
          <ac:spMkLst>
            <pc:docMk/>
            <pc:sldMk cId="247228938" sldId="845"/>
            <ac:spMk id="143" creationId="{BEC4A700-6DA2-4FD3-A011-3FE85771C6AD}"/>
          </ac:spMkLst>
        </pc:spChg>
        <pc:spChg chg="del mod">
          <ac:chgData name="Patricia Bourguignon" userId="7649c7a7-e9d4-4ca8-9965-19cea404e454" providerId="ADAL" clId="{FD343B29-0D55-446E-88D7-361F80EE7BB1}" dt="2020-11-07T06:06:42.179" v="221" actId="478"/>
          <ac:spMkLst>
            <pc:docMk/>
            <pc:sldMk cId="247228938" sldId="845"/>
            <ac:spMk id="144" creationId="{9957DD59-06D7-4125-8879-530D8607EC95}"/>
          </ac:spMkLst>
        </pc:spChg>
        <pc:spChg chg="del mod">
          <ac:chgData name="Patricia Bourguignon" userId="7649c7a7-e9d4-4ca8-9965-19cea404e454" providerId="ADAL" clId="{FD343B29-0D55-446E-88D7-361F80EE7BB1}" dt="2020-11-07T06:06:42.179" v="221" actId="478"/>
          <ac:spMkLst>
            <pc:docMk/>
            <pc:sldMk cId="247228938" sldId="845"/>
            <ac:spMk id="145" creationId="{F4719B52-8845-49F1-9163-C87CB666C113}"/>
          </ac:spMkLst>
        </pc:spChg>
        <pc:spChg chg="del mod">
          <ac:chgData name="Patricia Bourguignon" userId="7649c7a7-e9d4-4ca8-9965-19cea404e454" providerId="ADAL" clId="{FD343B29-0D55-446E-88D7-361F80EE7BB1}" dt="2020-11-07T06:06:42.179" v="221" actId="478"/>
          <ac:spMkLst>
            <pc:docMk/>
            <pc:sldMk cId="247228938" sldId="845"/>
            <ac:spMk id="148" creationId="{1EE47077-89CB-477E-B0D7-779E1B186DAD}"/>
          </ac:spMkLst>
        </pc:spChg>
        <pc:spChg chg="del">
          <ac:chgData name="Patricia Bourguignon" userId="7649c7a7-e9d4-4ca8-9965-19cea404e454" providerId="ADAL" clId="{FD343B29-0D55-446E-88D7-361F80EE7BB1}" dt="2020-11-07T06:06:21.022" v="217" actId="478"/>
          <ac:spMkLst>
            <pc:docMk/>
            <pc:sldMk cId="247228938" sldId="845"/>
            <ac:spMk id="149" creationId="{7DC973E8-B6DF-4368-829A-3C7C2D47710D}"/>
          </ac:spMkLst>
        </pc:spChg>
        <pc:spChg chg="del">
          <ac:chgData name="Patricia Bourguignon" userId="7649c7a7-e9d4-4ca8-9965-19cea404e454" providerId="ADAL" clId="{FD343B29-0D55-446E-88D7-361F80EE7BB1}" dt="2020-11-07T06:06:21.022" v="217" actId="478"/>
          <ac:spMkLst>
            <pc:docMk/>
            <pc:sldMk cId="247228938" sldId="845"/>
            <ac:spMk id="225" creationId="{C2CA47B3-CB7D-43AE-8496-C5C542C3D888}"/>
          </ac:spMkLst>
        </pc:spChg>
        <pc:spChg chg="del">
          <ac:chgData name="Patricia Bourguignon" userId="7649c7a7-e9d4-4ca8-9965-19cea404e454" providerId="ADAL" clId="{FD343B29-0D55-446E-88D7-361F80EE7BB1}" dt="2020-11-07T06:06:21.022" v="217" actId="478"/>
          <ac:spMkLst>
            <pc:docMk/>
            <pc:sldMk cId="247228938" sldId="845"/>
            <ac:spMk id="226" creationId="{893B4A25-956B-4CA7-9531-920AFD1C1D02}"/>
          </ac:spMkLst>
        </pc:spChg>
        <pc:spChg chg="del">
          <ac:chgData name="Patricia Bourguignon" userId="7649c7a7-e9d4-4ca8-9965-19cea404e454" providerId="ADAL" clId="{FD343B29-0D55-446E-88D7-361F80EE7BB1}" dt="2020-11-07T06:06:21.022" v="217" actId="478"/>
          <ac:spMkLst>
            <pc:docMk/>
            <pc:sldMk cId="247228938" sldId="845"/>
            <ac:spMk id="275" creationId="{376E67B2-2F71-435E-879C-031447504139}"/>
          </ac:spMkLst>
        </pc:spChg>
        <pc:spChg chg="add mod ord">
          <ac:chgData name="Patricia Bourguignon" userId="7649c7a7-e9d4-4ca8-9965-19cea404e454" providerId="ADAL" clId="{FD343B29-0D55-446E-88D7-361F80EE7BB1}" dt="2020-11-07T06:11:19.100" v="563" actId="20577"/>
          <ac:spMkLst>
            <pc:docMk/>
            <pc:sldMk cId="247228938" sldId="845"/>
            <ac:spMk id="277" creationId="{3C8889F5-4E88-4ADC-A4EA-7984461C1447}"/>
          </ac:spMkLst>
        </pc:spChg>
        <pc:spChg chg="add mod ord modVis">
          <ac:chgData name="Patricia Bourguignon" userId="7649c7a7-e9d4-4ca8-9965-19cea404e454" providerId="ADAL" clId="{FD343B29-0D55-446E-88D7-361F80EE7BB1}" dt="2020-11-07T06:11:00.322" v="484"/>
          <ac:spMkLst>
            <pc:docMk/>
            <pc:sldMk cId="247228938" sldId="845"/>
            <ac:spMk id="279" creationId="{1D6F8F52-3F95-4DEF-9990-22C5B7D3CCA7}"/>
          </ac:spMkLst>
        </pc:spChg>
        <pc:grpChg chg="del mod">
          <ac:chgData name="Patricia Bourguignon" userId="7649c7a7-e9d4-4ca8-9965-19cea404e454" providerId="ADAL" clId="{FD343B29-0D55-446E-88D7-361F80EE7BB1}" dt="2020-11-07T06:06:42.179" v="221" actId="478"/>
          <ac:grpSpMkLst>
            <pc:docMk/>
            <pc:sldMk cId="247228938" sldId="845"/>
            <ac:grpSpMk id="3" creationId="{9F96C34E-CA86-42AB-8E26-B11F95D48EEB}"/>
          </ac:grpSpMkLst>
        </pc:grpChg>
        <pc:grpChg chg="del mod">
          <ac:chgData name="Patricia Bourguignon" userId="7649c7a7-e9d4-4ca8-9965-19cea404e454" providerId="ADAL" clId="{FD343B29-0D55-446E-88D7-361F80EE7BB1}" dt="2020-11-07T06:06:42.179" v="221" actId="478"/>
          <ac:grpSpMkLst>
            <pc:docMk/>
            <pc:sldMk cId="247228938" sldId="845"/>
            <ac:grpSpMk id="6" creationId="{BF2D32C1-4297-4408-B610-EBD41D718F9D}"/>
          </ac:grpSpMkLst>
        </pc:grpChg>
        <pc:grpChg chg="del mod">
          <ac:chgData name="Patricia Bourguignon" userId="7649c7a7-e9d4-4ca8-9965-19cea404e454" providerId="ADAL" clId="{FD343B29-0D55-446E-88D7-361F80EE7BB1}" dt="2020-11-07T06:06:42.179" v="221" actId="478"/>
          <ac:grpSpMkLst>
            <pc:docMk/>
            <pc:sldMk cId="247228938" sldId="845"/>
            <ac:grpSpMk id="9" creationId="{FCBE97A3-3C54-4D45-A6F0-7B53E06DE886}"/>
          </ac:grpSpMkLst>
        </pc:grpChg>
        <pc:grpChg chg="del mod">
          <ac:chgData name="Patricia Bourguignon" userId="7649c7a7-e9d4-4ca8-9965-19cea404e454" providerId="ADAL" clId="{FD343B29-0D55-446E-88D7-361F80EE7BB1}" dt="2020-11-07T06:06:42.179" v="221" actId="478"/>
          <ac:grpSpMkLst>
            <pc:docMk/>
            <pc:sldMk cId="247228938" sldId="845"/>
            <ac:grpSpMk id="12" creationId="{099018B3-C1E3-481F-89F7-FF60A85AEF24}"/>
          </ac:grpSpMkLst>
        </pc:grpChg>
        <pc:grpChg chg="del mod">
          <ac:chgData name="Patricia Bourguignon" userId="7649c7a7-e9d4-4ca8-9965-19cea404e454" providerId="ADAL" clId="{FD343B29-0D55-446E-88D7-361F80EE7BB1}" dt="2020-11-07T06:06:42.179" v="221" actId="478"/>
          <ac:grpSpMkLst>
            <pc:docMk/>
            <pc:sldMk cId="247228938" sldId="845"/>
            <ac:grpSpMk id="15" creationId="{620500C9-0810-4748-8458-B95BF71E0B60}"/>
          </ac:grpSpMkLst>
        </pc:grpChg>
        <pc:grpChg chg="del mod">
          <ac:chgData name="Patricia Bourguignon" userId="7649c7a7-e9d4-4ca8-9965-19cea404e454" providerId="ADAL" clId="{FD343B29-0D55-446E-88D7-361F80EE7BB1}" dt="2020-11-07T06:06:42.179" v="221" actId="478"/>
          <ac:grpSpMkLst>
            <pc:docMk/>
            <pc:sldMk cId="247228938" sldId="845"/>
            <ac:grpSpMk id="18" creationId="{34258962-EB8C-41F7-A3A0-2908875D74F1}"/>
          </ac:grpSpMkLst>
        </pc:grpChg>
        <pc:grpChg chg="del mod">
          <ac:chgData name="Patricia Bourguignon" userId="7649c7a7-e9d4-4ca8-9965-19cea404e454" providerId="ADAL" clId="{FD343B29-0D55-446E-88D7-361F80EE7BB1}" dt="2020-11-07T06:06:42.179" v="221" actId="478"/>
          <ac:grpSpMkLst>
            <pc:docMk/>
            <pc:sldMk cId="247228938" sldId="845"/>
            <ac:grpSpMk id="21" creationId="{C3120D6A-7C3F-4727-BAA8-4219863B1F56}"/>
          </ac:grpSpMkLst>
        </pc:grpChg>
        <pc:grpChg chg="del mod">
          <ac:chgData name="Patricia Bourguignon" userId="7649c7a7-e9d4-4ca8-9965-19cea404e454" providerId="ADAL" clId="{FD343B29-0D55-446E-88D7-361F80EE7BB1}" dt="2020-11-07T06:06:42.179" v="221" actId="478"/>
          <ac:grpSpMkLst>
            <pc:docMk/>
            <pc:sldMk cId="247228938" sldId="845"/>
            <ac:grpSpMk id="24" creationId="{E4F869D0-F07F-452B-9F03-B7B2420E6632}"/>
          </ac:grpSpMkLst>
        </pc:grpChg>
        <pc:grpChg chg="del mod">
          <ac:chgData name="Patricia Bourguignon" userId="7649c7a7-e9d4-4ca8-9965-19cea404e454" providerId="ADAL" clId="{FD343B29-0D55-446E-88D7-361F80EE7BB1}" dt="2020-11-07T06:06:42.179" v="221" actId="478"/>
          <ac:grpSpMkLst>
            <pc:docMk/>
            <pc:sldMk cId="247228938" sldId="845"/>
            <ac:grpSpMk id="27" creationId="{0376623C-D946-4EE6-A162-1631D1C189A9}"/>
          </ac:grpSpMkLst>
        </pc:grpChg>
        <pc:grpChg chg="del mod">
          <ac:chgData name="Patricia Bourguignon" userId="7649c7a7-e9d4-4ca8-9965-19cea404e454" providerId="ADAL" clId="{FD343B29-0D55-446E-88D7-361F80EE7BB1}" dt="2020-11-07T06:06:42.179" v="221" actId="478"/>
          <ac:grpSpMkLst>
            <pc:docMk/>
            <pc:sldMk cId="247228938" sldId="845"/>
            <ac:grpSpMk id="40" creationId="{5BBAEEF7-A9EB-43FC-B21C-2D178D932234}"/>
          </ac:grpSpMkLst>
        </pc:grpChg>
        <pc:grpChg chg="del mod">
          <ac:chgData name="Patricia Bourguignon" userId="7649c7a7-e9d4-4ca8-9965-19cea404e454" providerId="ADAL" clId="{FD343B29-0D55-446E-88D7-361F80EE7BB1}" dt="2020-11-07T06:06:42.179" v="221" actId="478"/>
          <ac:grpSpMkLst>
            <pc:docMk/>
            <pc:sldMk cId="247228938" sldId="845"/>
            <ac:grpSpMk id="59" creationId="{314EDB9A-D730-424C-B349-5BD9115D7658}"/>
          </ac:grpSpMkLst>
        </pc:grpChg>
        <pc:grpChg chg="del mod">
          <ac:chgData name="Patricia Bourguignon" userId="7649c7a7-e9d4-4ca8-9965-19cea404e454" providerId="ADAL" clId="{FD343B29-0D55-446E-88D7-361F80EE7BB1}" dt="2020-11-07T06:06:42.179" v="221" actId="478"/>
          <ac:grpSpMkLst>
            <pc:docMk/>
            <pc:sldMk cId="247228938" sldId="845"/>
            <ac:grpSpMk id="84" creationId="{0DF06106-6CD0-448D-8D84-8B5A26E024D7}"/>
          </ac:grpSpMkLst>
        </pc:grpChg>
        <pc:grpChg chg="del mod">
          <ac:chgData name="Patricia Bourguignon" userId="7649c7a7-e9d4-4ca8-9965-19cea404e454" providerId="ADAL" clId="{FD343B29-0D55-446E-88D7-361F80EE7BB1}" dt="2020-11-07T06:06:42.179" v="221" actId="478"/>
          <ac:grpSpMkLst>
            <pc:docMk/>
            <pc:sldMk cId="247228938" sldId="845"/>
            <ac:grpSpMk id="140" creationId="{A3BE1D48-F8E5-462C-A639-8B6932030A97}"/>
          </ac:grpSpMkLst>
        </pc:grpChg>
        <pc:grpChg chg="del">
          <ac:chgData name="Patricia Bourguignon" userId="7649c7a7-e9d4-4ca8-9965-19cea404e454" providerId="ADAL" clId="{FD343B29-0D55-446E-88D7-361F80EE7BB1}" dt="2020-11-07T06:06:21.022" v="217" actId="478"/>
          <ac:grpSpMkLst>
            <pc:docMk/>
            <pc:sldMk cId="247228938" sldId="845"/>
            <ac:grpSpMk id="150" creationId="{9F02E1EE-BA47-49DB-8F51-2CDC3E91813F}"/>
          </ac:grpSpMkLst>
        </pc:grpChg>
        <pc:grpChg chg="del">
          <ac:chgData name="Patricia Bourguignon" userId="7649c7a7-e9d4-4ca8-9965-19cea404e454" providerId="ADAL" clId="{FD343B29-0D55-446E-88D7-361F80EE7BB1}" dt="2020-11-07T06:06:21.022" v="217" actId="478"/>
          <ac:grpSpMkLst>
            <pc:docMk/>
            <pc:sldMk cId="247228938" sldId="845"/>
            <ac:grpSpMk id="153" creationId="{F8F1FFDA-52A2-46EB-8E12-4C8AC9C6C881}"/>
          </ac:grpSpMkLst>
        </pc:grpChg>
        <pc:grpChg chg="del">
          <ac:chgData name="Patricia Bourguignon" userId="7649c7a7-e9d4-4ca8-9965-19cea404e454" providerId="ADAL" clId="{FD343B29-0D55-446E-88D7-361F80EE7BB1}" dt="2020-11-07T06:06:21.022" v="217" actId="478"/>
          <ac:grpSpMkLst>
            <pc:docMk/>
            <pc:sldMk cId="247228938" sldId="845"/>
            <ac:grpSpMk id="156" creationId="{037E1397-116F-46B5-879B-CBC25ED9ABA4}"/>
          </ac:grpSpMkLst>
        </pc:grpChg>
        <pc:grpChg chg="del">
          <ac:chgData name="Patricia Bourguignon" userId="7649c7a7-e9d4-4ca8-9965-19cea404e454" providerId="ADAL" clId="{FD343B29-0D55-446E-88D7-361F80EE7BB1}" dt="2020-11-07T06:06:21.022" v="217" actId="478"/>
          <ac:grpSpMkLst>
            <pc:docMk/>
            <pc:sldMk cId="247228938" sldId="845"/>
            <ac:grpSpMk id="159" creationId="{04FC52F0-FC2B-4E6A-92C1-06B8D58867E2}"/>
          </ac:grpSpMkLst>
        </pc:grpChg>
        <pc:grpChg chg="del">
          <ac:chgData name="Patricia Bourguignon" userId="7649c7a7-e9d4-4ca8-9965-19cea404e454" providerId="ADAL" clId="{FD343B29-0D55-446E-88D7-361F80EE7BB1}" dt="2020-11-07T06:06:21.022" v="217" actId="478"/>
          <ac:grpSpMkLst>
            <pc:docMk/>
            <pc:sldMk cId="247228938" sldId="845"/>
            <ac:grpSpMk id="162" creationId="{4A592931-F695-4F97-ADFA-24FF9C63A9C9}"/>
          </ac:grpSpMkLst>
        </pc:grpChg>
        <pc:grpChg chg="del">
          <ac:chgData name="Patricia Bourguignon" userId="7649c7a7-e9d4-4ca8-9965-19cea404e454" providerId="ADAL" clId="{FD343B29-0D55-446E-88D7-361F80EE7BB1}" dt="2020-11-07T06:06:21.022" v="217" actId="478"/>
          <ac:grpSpMkLst>
            <pc:docMk/>
            <pc:sldMk cId="247228938" sldId="845"/>
            <ac:grpSpMk id="165" creationId="{4A54DEF4-4A14-4996-B0BE-204CF599BA23}"/>
          </ac:grpSpMkLst>
        </pc:grpChg>
        <pc:grpChg chg="del">
          <ac:chgData name="Patricia Bourguignon" userId="7649c7a7-e9d4-4ca8-9965-19cea404e454" providerId="ADAL" clId="{FD343B29-0D55-446E-88D7-361F80EE7BB1}" dt="2020-11-07T06:06:21.022" v="217" actId="478"/>
          <ac:grpSpMkLst>
            <pc:docMk/>
            <pc:sldMk cId="247228938" sldId="845"/>
            <ac:grpSpMk id="168" creationId="{2CE8BCF1-16EF-49AF-B9D7-F705E7586080}"/>
          </ac:grpSpMkLst>
        </pc:grpChg>
        <pc:grpChg chg="del">
          <ac:chgData name="Patricia Bourguignon" userId="7649c7a7-e9d4-4ca8-9965-19cea404e454" providerId="ADAL" clId="{FD343B29-0D55-446E-88D7-361F80EE7BB1}" dt="2020-11-07T06:06:21.022" v="217" actId="478"/>
          <ac:grpSpMkLst>
            <pc:docMk/>
            <pc:sldMk cId="247228938" sldId="845"/>
            <ac:grpSpMk id="171" creationId="{D822670A-568D-48ED-9F2C-D5970E72A13A}"/>
          </ac:grpSpMkLst>
        </pc:grpChg>
        <pc:grpChg chg="del">
          <ac:chgData name="Patricia Bourguignon" userId="7649c7a7-e9d4-4ca8-9965-19cea404e454" providerId="ADAL" clId="{FD343B29-0D55-446E-88D7-361F80EE7BB1}" dt="2020-11-07T06:06:21.022" v="217" actId="478"/>
          <ac:grpSpMkLst>
            <pc:docMk/>
            <pc:sldMk cId="247228938" sldId="845"/>
            <ac:grpSpMk id="174" creationId="{C239C7A8-95BD-43C9-9F4F-7EAB9AB88B3F}"/>
          </ac:grpSpMkLst>
        </pc:grpChg>
        <pc:grpChg chg="del">
          <ac:chgData name="Patricia Bourguignon" userId="7649c7a7-e9d4-4ca8-9965-19cea404e454" providerId="ADAL" clId="{FD343B29-0D55-446E-88D7-361F80EE7BB1}" dt="2020-11-07T06:06:21.022" v="217" actId="478"/>
          <ac:grpSpMkLst>
            <pc:docMk/>
            <pc:sldMk cId="247228938" sldId="845"/>
            <ac:grpSpMk id="187" creationId="{1F27ACD1-7DFA-4CCE-8DF1-EFBA79AE7694}"/>
          </ac:grpSpMkLst>
        </pc:grpChg>
        <pc:grpChg chg="del">
          <ac:chgData name="Patricia Bourguignon" userId="7649c7a7-e9d4-4ca8-9965-19cea404e454" providerId="ADAL" clId="{FD343B29-0D55-446E-88D7-361F80EE7BB1}" dt="2020-11-07T06:06:21.022" v="217" actId="478"/>
          <ac:grpSpMkLst>
            <pc:docMk/>
            <pc:sldMk cId="247228938" sldId="845"/>
            <ac:grpSpMk id="206" creationId="{B4CE4C28-02AF-4654-A66F-6520535137FC}"/>
          </ac:grpSpMkLst>
        </pc:grpChg>
        <pc:grpChg chg="del">
          <ac:chgData name="Patricia Bourguignon" userId="7649c7a7-e9d4-4ca8-9965-19cea404e454" providerId="ADAL" clId="{FD343B29-0D55-446E-88D7-361F80EE7BB1}" dt="2020-11-07T06:06:21.022" v="217" actId="478"/>
          <ac:grpSpMkLst>
            <pc:docMk/>
            <pc:sldMk cId="247228938" sldId="845"/>
            <ac:grpSpMk id="227" creationId="{5BEC1061-97EB-4070-86B7-A6D176B27397}"/>
          </ac:grpSpMkLst>
        </pc:grpChg>
        <pc:graphicFrameChg chg="add mod ord modVis">
          <ac:chgData name="Patricia Bourguignon" userId="7649c7a7-e9d4-4ca8-9965-19cea404e454" providerId="ADAL" clId="{FD343B29-0D55-446E-88D7-361F80EE7BB1}" dt="2020-11-07T06:11:19.632" v="565"/>
          <ac:graphicFrameMkLst>
            <pc:docMk/>
            <pc:sldMk cId="247228938" sldId="845"/>
            <ac:graphicFrameMk id="278" creationId="{188E48A8-DEAC-4978-8EAC-D5327389CCF4}"/>
          </ac:graphicFrameMkLst>
        </pc:graphicFrameChg>
        <pc:picChg chg="del mod">
          <ac:chgData name="Patricia Bourguignon" userId="7649c7a7-e9d4-4ca8-9965-19cea404e454" providerId="ADAL" clId="{FD343B29-0D55-446E-88D7-361F80EE7BB1}" dt="2020-11-07T06:06:42.179" v="221" actId="478"/>
          <ac:picMkLst>
            <pc:docMk/>
            <pc:sldMk cId="247228938" sldId="845"/>
            <ac:picMk id="136" creationId="{C190E6D1-D80A-4E0C-9D8D-24E00FC9D9F6}"/>
          </ac:picMkLst>
        </pc:picChg>
        <pc:picChg chg="del mod">
          <ac:chgData name="Patricia Bourguignon" userId="7649c7a7-e9d4-4ca8-9965-19cea404e454" providerId="ADAL" clId="{FD343B29-0D55-446E-88D7-361F80EE7BB1}" dt="2020-11-07T06:06:42.179" v="221" actId="478"/>
          <ac:picMkLst>
            <pc:docMk/>
            <pc:sldMk cId="247228938" sldId="845"/>
            <ac:picMk id="137" creationId="{045437B7-8BA8-46E3-9211-29B433BFA891}"/>
          </ac:picMkLst>
        </pc:picChg>
        <pc:picChg chg="del mod">
          <ac:chgData name="Patricia Bourguignon" userId="7649c7a7-e9d4-4ca8-9965-19cea404e454" providerId="ADAL" clId="{FD343B29-0D55-446E-88D7-361F80EE7BB1}" dt="2020-11-07T06:06:42.179" v="221" actId="478"/>
          <ac:picMkLst>
            <pc:docMk/>
            <pc:sldMk cId="247228938" sldId="845"/>
            <ac:picMk id="138" creationId="{31CD4C98-A7CE-4108-9925-B57816D4E11C}"/>
          </ac:picMkLst>
        </pc:picChg>
        <pc:picChg chg="del mod">
          <ac:chgData name="Patricia Bourguignon" userId="7649c7a7-e9d4-4ca8-9965-19cea404e454" providerId="ADAL" clId="{FD343B29-0D55-446E-88D7-361F80EE7BB1}" dt="2020-11-07T06:06:42.179" v="221" actId="478"/>
          <ac:picMkLst>
            <pc:docMk/>
            <pc:sldMk cId="247228938" sldId="845"/>
            <ac:picMk id="139" creationId="{91DB3F76-DE16-4A2B-B54C-34DBE9E194FC}"/>
          </ac:picMkLst>
        </pc:picChg>
        <pc:picChg chg="del mod">
          <ac:chgData name="Patricia Bourguignon" userId="7649c7a7-e9d4-4ca8-9965-19cea404e454" providerId="ADAL" clId="{FD343B29-0D55-446E-88D7-361F80EE7BB1}" dt="2020-11-07T06:06:42.179" v="221" actId="478"/>
          <ac:picMkLst>
            <pc:docMk/>
            <pc:sldMk cId="247228938" sldId="845"/>
            <ac:picMk id="274" creationId="{0C0AFFC1-BC9D-4776-A2AB-8A8BC8C2B4DE}"/>
          </ac:picMkLst>
        </pc:picChg>
        <pc:picChg chg="mod ord">
          <ac:chgData name="Patricia Bourguignon" userId="7649c7a7-e9d4-4ca8-9965-19cea404e454" providerId="ADAL" clId="{FD343B29-0D55-446E-88D7-361F80EE7BB1}" dt="2020-11-07T06:11:00.327" v="488"/>
          <ac:picMkLst>
            <pc:docMk/>
            <pc:sldMk cId="247228938" sldId="845"/>
            <ac:picMk id="276" creationId="{F194DC36-3484-4A7B-A2E5-A6359070483F}"/>
          </ac:picMkLst>
        </pc:picChg>
        <pc:cxnChg chg="del mod">
          <ac:chgData name="Patricia Bourguignon" userId="7649c7a7-e9d4-4ca8-9965-19cea404e454" providerId="ADAL" clId="{FD343B29-0D55-446E-88D7-361F80EE7BB1}" dt="2020-11-07T06:06:42.179" v="221" actId="478"/>
          <ac:cxnSpMkLst>
            <pc:docMk/>
            <pc:sldMk cId="247228938" sldId="845"/>
            <ac:cxnSpMk id="131" creationId="{333B349B-C376-4AA8-8F8C-1DDF1D39B922}"/>
          </ac:cxnSpMkLst>
        </pc:cxnChg>
        <pc:cxnChg chg="del mod">
          <ac:chgData name="Patricia Bourguignon" userId="7649c7a7-e9d4-4ca8-9965-19cea404e454" providerId="ADAL" clId="{FD343B29-0D55-446E-88D7-361F80EE7BB1}" dt="2020-11-07T06:06:42.179" v="221" actId="478"/>
          <ac:cxnSpMkLst>
            <pc:docMk/>
            <pc:sldMk cId="247228938" sldId="845"/>
            <ac:cxnSpMk id="132" creationId="{DE4F2E74-ACEC-4F0A-87F5-3FA7DA986D50}"/>
          </ac:cxnSpMkLst>
        </pc:cxnChg>
        <pc:cxnChg chg="del mod">
          <ac:chgData name="Patricia Bourguignon" userId="7649c7a7-e9d4-4ca8-9965-19cea404e454" providerId="ADAL" clId="{FD343B29-0D55-446E-88D7-361F80EE7BB1}" dt="2020-11-07T06:06:42.179" v="221" actId="478"/>
          <ac:cxnSpMkLst>
            <pc:docMk/>
            <pc:sldMk cId="247228938" sldId="845"/>
            <ac:cxnSpMk id="133" creationId="{9C6CD88D-1DC0-4349-8EE7-509C35B64944}"/>
          </ac:cxnSpMkLst>
        </pc:cxnChg>
        <pc:cxnChg chg="del mod">
          <ac:chgData name="Patricia Bourguignon" userId="7649c7a7-e9d4-4ca8-9965-19cea404e454" providerId="ADAL" clId="{FD343B29-0D55-446E-88D7-361F80EE7BB1}" dt="2020-11-07T06:06:42.179" v="221" actId="478"/>
          <ac:cxnSpMkLst>
            <pc:docMk/>
            <pc:sldMk cId="247228938" sldId="845"/>
            <ac:cxnSpMk id="134" creationId="{E8A18F32-2123-46CC-8ACF-E85B4659C287}"/>
          </ac:cxnSpMkLst>
        </pc:cxnChg>
        <pc:cxnChg chg="del mod">
          <ac:chgData name="Patricia Bourguignon" userId="7649c7a7-e9d4-4ca8-9965-19cea404e454" providerId="ADAL" clId="{FD343B29-0D55-446E-88D7-361F80EE7BB1}" dt="2020-11-07T06:06:42.179" v="221" actId="478"/>
          <ac:cxnSpMkLst>
            <pc:docMk/>
            <pc:sldMk cId="247228938" sldId="845"/>
            <ac:cxnSpMk id="146" creationId="{5B7D059F-6189-472E-AB62-3FEB8922D71F}"/>
          </ac:cxnSpMkLst>
        </pc:cxnChg>
        <pc:cxnChg chg="del mod">
          <ac:chgData name="Patricia Bourguignon" userId="7649c7a7-e9d4-4ca8-9965-19cea404e454" providerId="ADAL" clId="{FD343B29-0D55-446E-88D7-361F80EE7BB1}" dt="2020-11-07T06:06:42.179" v="221" actId="478"/>
          <ac:cxnSpMkLst>
            <pc:docMk/>
            <pc:sldMk cId="247228938" sldId="845"/>
            <ac:cxnSpMk id="147" creationId="{CE70D1A1-A881-4CCA-AEE9-7E0F1C5B925F}"/>
          </ac:cxnSpMkLst>
        </pc:cxnChg>
      </pc:sldChg>
      <pc:sldChg chg="del">
        <pc:chgData name="Patricia Bourguignon" userId="7649c7a7-e9d4-4ca8-9965-19cea404e454" providerId="ADAL" clId="{FD343B29-0D55-446E-88D7-361F80EE7BB1}" dt="2020-11-07T06:10:14.022" v="265" actId="2696"/>
        <pc:sldMkLst>
          <pc:docMk/>
          <pc:sldMk cId="949800163" sldId="846"/>
        </pc:sldMkLst>
      </pc:sldChg>
      <pc:sldChg chg="del">
        <pc:chgData name="Patricia Bourguignon" userId="7649c7a7-e9d4-4ca8-9965-19cea404e454" providerId="ADAL" clId="{FD343B29-0D55-446E-88D7-361F80EE7BB1}" dt="2020-11-07T06:27:16.093" v="1163" actId="2696"/>
        <pc:sldMkLst>
          <pc:docMk/>
          <pc:sldMk cId="705763385" sldId="897"/>
        </pc:sldMkLst>
      </pc:sldChg>
      <pc:sldChg chg="delSp modSp modTransition modNotesTx">
        <pc:chgData name="Patricia Bourguignon" userId="7649c7a7-e9d4-4ca8-9965-19cea404e454" providerId="ADAL" clId="{FD343B29-0D55-446E-88D7-361F80EE7BB1}" dt="2020-11-07T06:12:11.340" v="615" actId="113"/>
        <pc:sldMkLst>
          <pc:docMk/>
          <pc:sldMk cId="2917123571" sldId="1524"/>
        </pc:sldMkLst>
        <pc:spChg chg="mod">
          <ac:chgData name="Patricia Bourguignon" userId="7649c7a7-e9d4-4ca8-9965-19cea404e454" providerId="ADAL" clId="{FD343B29-0D55-446E-88D7-361F80EE7BB1}" dt="2020-11-07T06:12:11.340" v="615" actId="113"/>
          <ac:spMkLst>
            <pc:docMk/>
            <pc:sldMk cId="2917123571" sldId="1524"/>
            <ac:spMk id="4" creationId="{8D9D64C8-F438-461A-AF1F-4BFDA9FF390E}"/>
          </ac:spMkLst>
        </pc:spChg>
        <pc:spChg chg="mod">
          <ac:chgData name="Patricia Bourguignon" userId="7649c7a7-e9d4-4ca8-9965-19cea404e454" providerId="ADAL" clId="{FD343B29-0D55-446E-88D7-361F80EE7BB1}" dt="2020-11-07T06:08:56.082" v="263" actId="14100"/>
          <ac:spMkLst>
            <pc:docMk/>
            <pc:sldMk cId="2917123571" sldId="1524"/>
            <ac:spMk id="8" creationId="{FCDE4EF2-F688-433D-BB60-50CBC19E4A8C}"/>
          </ac:spMkLst>
        </pc:spChg>
        <pc:spChg chg="del">
          <ac:chgData name="Patricia Bourguignon" userId="7649c7a7-e9d4-4ca8-9965-19cea404e454" providerId="ADAL" clId="{FD343B29-0D55-446E-88D7-361F80EE7BB1}" dt="2020-11-07T06:07:58.515" v="253" actId="478"/>
          <ac:spMkLst>
            <pc:docMk/>
            <pc:sldMk cId="2917123571" sldId="1524"/>
            <ac:spMk id="33" creationId="{45193C9D-49FF-45DB-820B-1DF4BD69FA02}"/>
          </ac:spMkLst>
        </pc:spChg>
        <pc:spChg chg="mod">
          <ac:chgData name="Patricia Bourguignon" userId="7649c7a7-e9d4-4ca8-9965-19cea404e454" providerId="ADAL" clId="{FD343B29-0D55-446E-88D7-361F80EE7BB1}" dt="2020-11-07T06:08:48.690" v="261" actId="1076"/>
          <ac:spMkLst>
            <pc:docMk/>
            <pc:sldMk cId="2917123571" sldId="1524"/>
            <ac:spMk id="43" creationId="{E969D1E1-4835-4635-ACC7-3693265F1079}"/>
          </ac:spMkLst>
        </pc:spChg>
      </pc:sldChg>
      <pc:sldChg chg="del">
        <pc:chgData name="Patricia Bourguignon" userId="7649c7a7-e9d4-4ca8-9965-19cea404e454" providerId="ADAL" clId="{FD343B29-0D55-446E-88D7-361F80EE7BB1}" dt="2020-11-07T06:27:03.919" v="1162" actId="2696"/>
        <pc:sldMkLst>
          <pc:docMk/>
          <pc:sldMk cId="1407611517" sldId="1548"/>
        </pc:sldMkLst>
      </pc:sldChg>
      <pc:sldChg chg="add del">
        <pc:chgData name="Patricia Bourguignon" userId="7649c7a7-e9d4-4ca8-9965-19cea404e454" providerId="ADAL" clId="{FD343B29-0D55-446E-88D7-361F80EE7BB1}" dt="2020-11-07T06:32:02.252" v="1325" actId="2696"/>
        <pc:sldMkLst>
          <pc:docMk/>
          <pc:sldMk cId="2586230716" sldId="1560"/>
        </pc:sldMkLst>
      </pc:sldChg>
      <pc:sldChg chg="add del">
        <pc:chgData name="Patricia Bourguignon" userId="7649c7a7-e9d4-4ca8-9965-19cea404e454" providerId="ADAL" clId="{FD343B29-0D55-446E-88D7-361F80EE7BB1}" dt="2020-11-07T06:32:02.271" v="1326" actId="2696"/>
        <pc:sldMkLst>
          <pc:docMk/>
          <pc:sldMk cId="397960781" sldId="1561"/>
        </pc:sldMkLst>
      </pc:sldChg>
      <pc:sldChg chg="del">
        <pc:chgData name="Patricia Bourguignon" userId="7649c7a7-e9d4-4ca8-9965-19cea404e454" providerId="ADAL" clId="{FD343B29-0D55-446E-88D7-361F80EE7BB1}" dt="2020-11-07T06:01:32.657" v="175" actId="2696"/>
        <pc:sldMkLst>
          <pc:docMk/>
          <pc:sldMk cId="1287681916" sldId="1561"/>
        </pc:sldMkLst>
      </pc:sldChg>
      <pc:sldChg chg="del">
        <pc:chgData name="Patricia Bourguignon" userId="7649c7a7-e9d4-4ca8-9965-19cea404e454" providerId="ADAL" clId="{FD343B29-0D55-446E-88D7-361F80EE7BB1}" dt="2020-11-07T06:26:32.830" v="1159" actId="2696"/>
        <pc:sldMkLst>
          <pc:docMk/>
          <pc:sldMk cId="2899645678" sldId="1572"/>
        </pc:sldMkLst>
      </pc:sldChg>
      <pc:sldChg chg="del">
        <pc:chgData name="Patricia Bourguignon" userId="7649c7a7-e9d4-4ca8-9965-19cea404e454" providerId="ADAL" clId="{FD343B29-0D55-446E-88D7-361F80EE7BB1}" dt="2020-11-07T06:28:36.279" v="1164" actId="2696"/>
        <pc:sldMkLst>
          <pc:docMk/>
          <pc:sldMk cId="2859068933" sldId="1576"/>
        </pc:sldMkLst>
      </pc:sldChg>
      <pc:sldChg chg="addSp delSp modSp">
        <pc:chgData name="Patricia Bourguignon" userId="7649c7a7-e9d4-4ca8-9965-19cea404e454" providerId="ADAL" clId="{FD343B29-0D55-446E-88D7-361F80EE7BB1}" dt="2020-11-07T06:30:45.772" v="1319" actId="6549"/>
        <pc:sldMkLst>
          <pc:docMk/>
          <pc:sldMk cId="4286121744" sldId="1578"/>
        </pc:sldMkLst>
        <pc:spChg chg="del">
          <ac:chgData name="Patricia Bourguignon" userId="7649c7a7-e9d4-4ca8-9965-19cea404e454" providerId="ADAL" clId="{FD343B29-0D55-446E-88D7-361F80EE7BB1}" dt="2020-11-07T06:28:46.740" v="1166" actId="478"/>
          <ac:spMkLst>
            <pc:docMk/>
            <pc:sldMk cId="4286121744" sldId="1578"/>
            <ac:spMk id="2" creationId="{C651AAF5-2F4E-4BF1-B17C-7AA663532E6B}"/>
          </ac:spMkLst>
        </pc:spChg>
        <pc:spChg chg="add mod ord">
          <ac:chgData name="Patricia Bourguignon" userId="7649c7a7-e9d4-4ca8-9965-19cea404e454" providerId="ADAL" clId="{FD343B29-0D55-446E-88D7-361F80EE7BB1}" dt="2020-11-07T06:29:29.323" v="1299" actId="20577"/>
          <ac:spMkLst>
            <pc:docMk/>
            <pc:sldMk cId="4286121744" sldId="1578"/>
            <ac:spMk id="3" creationId="{EDF9BC25-A9F1-45D3-9A67-8B6DB8051772}"/>
          </ac:spMkLst>
        </pc:spChg>
        <pc:spChg chg="add mod ord">
          <ac:chgData name="Patricia Bourguignon" userId="7649c7a7-e9d4-4ca8-9965-19cea404e454" providerId="ADAL" clId="{FD343B29-0D55-446E-88D7-361F80EE7BB1}" dt="2020-11-07T06:30:45.772" v="1319" actId="6549"/>
          <ac:spMkLst>
            <pc:docMk/>
            <pc:sldMk cId="4286121744" sldId="1578"/>
            <ac:spMk id="5" creationId="{CEF754DF-81B5-46A9-A7E3-DB9771D69089}"/>
          </ac:spMkLst>
        </pc:spChg>
        <pc:spChg chg="add mod ord modVis">
          <ac:chgData name="Patricia Bourguignon" userId="7649c7a7-e9d4-4ca8-9965-19cea404e454" providerId="ADAL" clId="{FD343B29-0D55-446E-88D7-361F80EE7BB1}" dt="2020-11-07T06:29:16.041" v="1234"/>
          <ac:spMkLst>
            <pc:docMk/>
            <pc:sldMk cId="4286121744" sldId="1578"/>
            <ac:spMk id="8" creationId="{077A833B-DBFC-4C64-BD0B-8EC57ACB968A}"/>
          </ac:spMkLst>
        </pc:spChg>
        <pc:spChg chg="add del">
          <ac:chgData name="Patricia Bourguignon" userId="7649c7a7-e9d4-4ca8-9965-19cea404e454" providerId="ADAL" clId="{FD343B29-0D55-446E-88D7-361F80EE7BB1}" dt="2020-11-07T06:29:43.649" v="1303"/>
          <ac:spMkLst>
            <pc:docMk/>
            <pc:sldMk cId="4286121744" sldId="1578"/>
            <ac:spMk id="9" creationId="{8AE67EE0-7925-4900-BEFC-023B0C31283E}"/>
          </ac:spMkLst>
        </pc:spChg>
        <pc:spChg chg="add del">
          <ac:chgData name="Patricia Bourguignon" userId="7649c7a7-e9d4-4ca8-9965-19cea404e454" providerId="ADAL" clId="{FD343B29-0D55-446E-88D7-361F80EE7BB1}" dt="2020-11-07T06:29:43.649" v="1303"/>
          <ac:spMkLst>
            <pc:docMk/>
            <pc:sldMk cId="4286121744" sldId="1578"/>
            <ac:spMk id="10" creationId="{31A3DE61-4967-4241-B375-21EE9408862F}"/>
          </ac:spMkLst>
        </pc:spChg>
        <pc:graphicFrameChg chg="add mod ord modVis">
          <ac:chgData name="Patricia Bourguignon" userId="7649c7a7-e9d4-4ca8-9965-19cea404e454" providerId="ADAL" clId="{FD343B29-0D55-446E-88D7-361F80EE7BB1}" dt="2020-11-07T06:29:29.845" v="1301"/>
          <ac:graphicFrameMkLst>
            <pc:docMk/>
            <pc:sldMk cId="4286121744" sldId="1578"/>
            <ac:graphicFrameMk id="7" creationId="{C98A5896-2C6B-4464-A282-B3F5BA517666}"/>
          </ac:graphicFrameMkLst>
        </pc:graphicFrameChg>
        <pc:picChg chg="del">
          <ac:chgData name="Patricia Bourguignon" userId="7649c7a7-e9d4-4ca8-9965-19cea404e454" providerId="ADAL" clId="{FD343B29-0D55-446E-88D7-361F80EE7BB1}" dt="2020-11-07T06:28:47.635" v="1167" actId="478"/>
          <ac:picMkLst>
            <pc:docMk/>
            <pc:sldMk cId="4286121744" sldId="1578"/>
            <ac:picMk id="4" creationId="{269A743B-5319-4412-A9D3-E473BBFCAED9}"/>
          </ac:picMkLst>
        </pc:picChg>
        <pc:picChg chg="mod ord">
          <ac:chgData name="Patricia Bourguignon" userId="7649c7a7-e9d4-4ca8-9965-19cea404e454" providerId="ADAL" clId="{FD343B29-0D55-446E-88D7-361F80EE7BB1}" dt="2020-11-07T06:29:16.043" v="1236"/>
          <ac:picMkLst>
            <pc:docMk/>
            <pc:sldMk cId="4286121744" sldId="1578"/>
            <ac:picMk id="6" creationId="{D1C0474D-90D1-4132-89AA-417EEAF94E0D}"/>
          </ac:picMkLst>
        </pc:picChg>
        <pc:picChg chg="add del">
          <ac:chgData name="Patricia Bourguignon" userId="7649c7a7-e9d4-4ca8-9965-19cea404e454" providerId="ADAL" clId="{FD343B29-0D55-446E-88D7-361F80EE7BB1}" dt="2020-11-07T06:29:43.649" v="1303"/>
          <ac:picMkLst>
            <pc:docMk/>
            <pc:sldMk cId="4286121744" sldId="1578"/>
            <ac:picMk id="10241" creationId="{FAAA006A-C908-4B32-8BA8-719019F01C2F}"/>
          </ac:picMkLst>
        </pc:picChg>
      </pc:sldChg>
      <pc:sldChg chg="del">
        <pc:chgData name="Patricia Bourguignon" userId="7649c7a7-e9d4-4ca8-9965-19cea404e454" providerId="ADAL" clId="{FD343B29-0D55-446E-88D7-361F80EE7BB1}" dt="2020-11-07T06:10:17.382" v="266" actId="2696"/>
        <pc:sldMkLst>
          <pc:docMk/>
          <pc:sldMk cId="2563441464" sldId="2140753950"/>
        </pc:sldMkLst>
      </pc:sldChg>
      <pc:sldChg chg="delSp modSp modTransition modNotesTx">
        <pc:chgData name="Patricia Bourguignon" userId="7649c7a7-e9d4-4ca8-9965-19cea404e454" providerId="ADAL" clId="{FD343B29-0D55-446E-88D7-361F80EE7BB1}" dt="2020-11-07T06:12:07.158" v="613"/>
        <pc:sldMkLst>
          <pc:docMk/>
          <pc:sldMk cId="831588604" sldId="2140753954"/>
        </pc:sldMkLst>
        <pc:spChg chg="mod">
          <ac:chgData name="Patricia Bourguignon" userId="7649c7a7-e9d4-4ca8-9965-19cea404e454" providerId="ADAL" clId="{FD343B29-0D55-446E-88D7-361F80EE7BB1}" dt="2020-11-07T06:12:06.131" v="611" actId="1076"/>
          <ac:spMkLst>
            <pc:docMk/>
            <pc:sldMk cId="831588604" sldId="2140753954"/>
            <ac:spMk id="6" creationId="{16A57731-A920-4208-B438-5A6212243C23}"/>
          </ac:spMkLst>
        </pc:spChg>
        <pc:spChg chg="mod">
          <ac:chgData name="Patricia Bourguignon" userId="7649c7a7-e9d4-4ca8-9965-19cea404e454" providerId="ADAL" clId="{FD343B29-0D55-446E-88D7-361F80EE7BB1}" dt="2020-11-07T06:12:02.499" v="608" actId="6549"/>
          <ac:spMkLst>
            <pc:docMk/>
            <pc:sldMk cId="831588604" sldId="2140753954"/>
            <ac:spMk id="12" creationId="{59A69B6F-9EED-4BEF-A770-5E6B0F57680A}"/>
          </ac:spMkLst>
        </pc:spChg>
        <pc:spChg chg="del">
          <ac:chgData name="Patricia Bourguignon" userId="7649c7a7-e9d4-4ca8-9965-19cea404e454" providerId="ADAL" clId="{FD343B29-0D55-446E-88D7-361F80EE7BB1}" dt="2020-11-07T06:07:29.481" v="250" actId="478"/>
          <ac:spMkLst>
            <pc:docMk/>
            <pc:sldMk cId="831588604" sldId="2140753954"/>
            <ac:spMk id="47" creationId="{194EC88B-FF92-4A6C-AB86-3FF3FB013F54}"/>
          </ac:spMkLst>
        </pc:spChg>
        <pc:graphicFrameChg chg="mod">
          <ac:chgData name="Patricia Bourguignon" userId="7649c7a7-e9d4-4ca8-9965-19cea404e454" providerId="ADAL" clId="{FD343B29-0D55-446E-88D7-361F80EE7BB1}" dt="2020-11-07T06:12:07.158" v="613"/>
          <ac:graphicFrameMkLst>
            <pc:docMk/>
            <pc:sldMk cId="831588604" sldId="2140753954"/>
            <ac:graphicFrameMk id="7" creationId="{D72378F1-CC7C-4FC7-8B15-310512D1E5A2}"/>
          </ac:graphicFrameMkLst>
        </pc:graphicFrameChg>
      </pc:sldChg>
      <pc:sldChg chg="addSp delSp modSp modNotesTx">
        <pc:chgData name="Patricia Bourguignon" userId="7649c7a7-e9d4-4ca8-9965-19cea404e454" providerId="ADAL" clId="{FD343B29-0D55-446E-88D7-361F80EE7BB1}" dt="2020-11-07T06:10:44.485" v="415"/>
        <pc:sldMkLst>
          <pc:docMk/>
          <pc:sldMk cId="3466577787" sldId="2140753955"/>
        </pc:sldMkLst>
        <pc:spChg chg="mod ord">
          <ac:chgData name="Patricia Bourguignon" userId="7649c7a7-e9d4-4ca8-9965-19cea404e454" providerId="ADAL" clId="{FD343B29-0D55-446E-88D7-361F80EE7BB1}" dt="2020-11-07T06:10:37.749" v="345"/>
          <ac:spMkLst>
            <pc:docMk/>
            <pc:sldMk cId="3466577787" sldId="2140753955"/>
            <ac:spMk id="2" creationId="{665304F4-BEAB-48D9-96D5-F4876B7474F5}"/>
          </ac:spMkLst>
        </pc:spChg>
        <pc:spChg chg="mod ord">
          <ac:chgData name="Patricia Bourguignon" userId="7649c7a7-e9d4-4ca8-9965-19cea404e454" providerId="ADAL" clId="{FD343B29-0D55-446E-88D7-361F80EE7BB1}" dt="2020-11-07T06:10:37.752" v="347"/>
          <ac:spMkLst>
            <pc:docMk/>
            <pc:sldMk cId="3466577787" sldId="2140753955"/>
            <ac:spMk id="3" creationId="{E5B8ACE3-2E28-4367-AF1C-5CD0C77AE11B}"/>
          </ac:spMkLst>
        </pc:spChg>
        <pc:spChg chg="mod ord">
          <ac:chgData name="Patricia Bourguignon" userId="7649c7a7-e9d4-4ca8-9965-19cea404e454" providerId="ADAL" clId="{FD343B29-0D55-446E-88D7-361F80EE7BB1}" dt="2020-11-07T06:10:37.756" v="349"/>
          <ac:spMkLst>
            <pc:docMk/>
            <pc:sldMk cId="3466577787" sldId="2140753955"/>
            <ac:spMk id="4" creationId="{E2FF4C6B-80D4-4A2A-8ADA-2E687F0B719C}"/>
          </ac:spMkLst>
        </pc:spChg>
        <pc:spChg chg="mod ord">
          <ac:chgData name="Patricia Bourguignon" userId="7649c7a7-e9d4-4ca8-9965-19cea404e454" providerId="ADAL" clId="{FD343B29-0D55-446E-88D7-361F80EE7BB1}" dt="2020-11-07T06:10:37.759" v="351"/>
          <ac:spMkLst>
            <pc:docMk/>
            <pc:sldMk cId="3466577787" sldId="2140753955"/>
            <ac:spMk id="5" creationId="{10A3931A-662C-4498-AF34-5FCEA5B0B3B5}"/>
          </ac:spMkLst>
        </pc:spChg>
        <pc:spChg chg="mod ord">
          <ac:chgData name="Patricia Bourguignon" userId="7649c7a7-e9d4-4ca8-9965-19cea404e454" providerId="ADAL" clId="{FD343B29-0D55-446E-88D7-361F80EE7BB1}" dt="2020-11-07T06:10:37.761" v="353"/>
          <ac:spMkLst>
            <pc:docMk/>
            <pc:sldMk cId="3466577787" sldId="2140753955"/>
            <ac:spMk id="6" creationId="{3D0AF658-DF20-46F9-B740-298E31303C64}"/>
          </ac:spMkLst>
        </pc:spChg>
        <pc:spChg chg="mod ord">
          <ac:chgData name="Patricia Bourguignon" userId="7649c7a7-e9d4-4ca8-9965-19cea404e454" providerId="ADAL" clId="{FD343B29-0D55-446E-88D7-361F80EE7BB1}" dt="2020-11-07T06:10:37.764" v="355"/>
          <ac:spMkLst>
            <pc:docMk/>
            <pc:sldMk cId="3466577787" sldId="2140753955"/>
            <ac:spMk id="7" creationId="{46D8D45D-5EBD-41AE-8AAC-9001C6E43F37}"/>
          </ac:spMkLst>
        </pc:spChg>
        <pc:spChg chg="mod ord">
          <ac:chgData name="Patricia Bourguignon" userId="7649c7a7-e9d4-4ca8-9965-19cea404e454" providerId="ADAL" clId="{FD343B29-0D55-446E-88D7-361F80EE7BB1}" dt="2020-11-07T06:10:37.767" v="357"/>
          <ac:spMkLst>
            <pc:docMk/>
            <pc:sldMk cId="3466577787" sldId="2140753955"/>
            <ac:spMk id="8" creationId="{F2669A35-1960-4BC1-9581-A519186A93B4}"/>
          </ac:spMkLst>
        </pc:spChg>
        <pc:spChg chg="mod ord">
          <ac:chgData name="Patricia Bourguignon" userId="7649c7a7-e9d4-4ca8-9965-19cea404e454" providerId="ADAL" clId="{FD343B29-0D55-446E-88D7-361F80EE7BB1}" dt="2020-11-07T06:10:37.770" v="359"/>
          <ac:spMkLst>
            <pc:docMk/>
            <pc:sldMk cId="3466577787" sldId="2140753955"/>
            <ac:spMk id="9" creationId="{FCF90A9C-3E01-49B7-9A87-4B4475713CE4}"/>
          </ac:spMkLst>
        </pc:spChg>
        <pc:spChg chg="mod ord">
          <ac:chgData name="Patricia Bourguignon" userId="7649c7a7-e9d4-4ca8-9965-19cea404e454" providerId="ADAL" clId="{FD343B29-0D55-446E-88D7-361F80EE7BB1}" dt="2020-11-07T06:10:37.773" v="361"/>
          <ac:spMkLst>
            <pc:docMk/>
            <pc:sldMk cId="3466577787" sldId="2140753955"/>
            <ac:spMk id="10" creationId="{5D5F2C95-C1D6-4A77-8DFD-941B6D6108E6}"/>
          </ac:spMkLst>
        </pc:spChg>
        <pc:spChg chg="mod ord">
          <ac:chgData name="Patricia Bourguignon" userId="7649c7a7-e9d4-4ca8-9965-19cea404e454" providerId="ADAL" clId="{FD343B29-0D55-446E-88D7-361F80EE7BB1}" dt="2020-11-07T06:10:37.776" v="363"/>
          <ac:spMkLst>
            <pc:docMk/>
            <pc:sldMk cId="3466577787" sldId="2140753955"/>
            <ac:spMk id="11" creationId="{051E38CB-E6F3-4D15-A625-2E69EBB3EC86}"/>
          </ac:spMkLst>
        </pc:spChg>
        <pc:spChg chg="mod ord">
          <ac:chgData name="Patricia Bourguignon" userId="7649c7a7-e9d4-4ca8-9965-19cea404e454" providerId="ADAL" clId="{FD343B29-0D55-446E-88D7-361F80EE7BB1}" dt="2020-11-07T06:10:37.779" v="365"/>
          <ac:spMkLst>
            <pc:docMk/>
            <pc:sldMk cId="3466577787" sldId="2140753955"/>
            <ac:spMk id="12" creationId="{D5885702-F76E-45FC-9FB5-67EE465EC5BF}"/>
          </ac:spMkLst>
        </pc:spChg>
        <pc:spChg chg="mod ord">
          <ac:chgData name="Patricia Bourguignon" userId="7649c7a7-e9d4-4ca8-9965-19cea404e454" providerId="ADAL" clId="{FD343B29-0D55-446E-88D7-361F80EE7BB1}" dt="2020-11-07T06:10:37.782" v="367"/>
          <ac:spMkLst>
            <pc:docMk/>
            <pc:sldMk cId="3466577787" sldId="2140753955"/>
            <ac:spMk id="13" creationId="{D954E03A-4F17-4D0E-B452-90B2BDBD4126}"/>
          </ac:spMkLst>
        </pc:spChg>
        <pc:spChg chg="mod ord">
          <ac:chgData name="Patricia Bourguignon" userId="7649c7a7-e9d4-4ca8-9965-19cea404e454" providerId="ADAL" clId="{FD343B29-0D55-446E-88D7-361F80EE7BB1}" dt="2020-11-07T06:10:37.785" v="369"/>
          <ac:spMkLst>
            <pc:docMk/>
            <pc:sldMk cId="3466577787" sldId="2140753955"/>
            <ac:spMk id="14" creationId="{567D1C88-BA20-4FAF-805D-7C3ACF3CFDA6}"/>
          </ac:spMkLst>
        </pc:spChg>
        <pc:spChg chg="mod ord">
          <ac:chgData name="Patricia Bourguignon" userId="7649c7a7-e9d4-4ca8-9965-19cea404e454" providerId="ADAL" clId="{FD343B29-0D55-446E-88D7-361F80EE7BB1}" dt="2020-11-07T06:10:37.787" v="371"/>
          <ac:spMkLst>
            <pc:docMk/>
            <pc:sldMk cId="3466577787" sldId="2140753955"/>
            <ac:spMk id="15" creationId="{A1CBCB6F-558E-4FC2-9B3A-0DC69425F4A3}"/>
          </ac:spMkLst>
        </pc:spChg>
        <pc:spChg chg="mod ord">
          <ac:chgData name="Patricia Bourguignon" userId="7649c7a7-e9d4-4ca8-9965-19cea404e454" providerId="ADAL" clId="{FD343B29-0D55-446E-88D7-361F80EE7BB1}" dt="2020-11-07T06:10:37.788" v="373"/>
          <ac:spMkLst>
            <pc:docMk/>
            <pc:sldMk cId="3466577787" sldId="2140753955"/>
            <ac:spMk id="16" creationId="{921506E4-EA0E-4E30-BC1C-5FEC68E4CAFB}"/>
          </ac:spMkLst>
        </pc:spChg>
        <pc:spChg chg="mod ord">
          <ac:chgData name="Patricia Bourguignon" userId="7649c7a7-e9d4-4ca8-9965-19cea404e454" providerId="ADAL" clId="{FD343B29-0D55-446E-88D7-361F80EE7BB1}" dt="2020-11-07T06:10:37.796" v="381"/>
          <ac:spMkLst>
            <pc:docMk/>
            <pc:sldMk cId="3466577787" sldId="2140753955"/>
            <ac:spMk id="20" creationId="{54B4AEFC-FC89-4501-A1E8-F887E60FA87A}"/>
          </ac:spMkLst>
        </pc:spChg>
        <pc:spChg chg="del">
          <ac:chgData name="Patricia Bourguignon" userId="7649c7a7-e9d4-4ca8-9965-19cea404e454" providerId="ADAL" clId="{FD343B29-0D55-446E-88D7-361F80EE7BB1}" dt="2020-11-07T06:10:29.604" v="290" actId="478"/>
          <ac:spMkLst>
            <pc:docMk/>
            <pc:sldMk cId="3466577787" sldId="2140753955"/>
            <ac:spMk id="21" creationId="{AF2A9DCD-2E23-4E95-87A4-CE5638A4D59E}"/>
          </ac:spMkLst>
        </pc:spChg>
        <pc:spChg chg="add mod ord">
          <ac:chgData name="Patricia Bourguignon" userId="7649c7a7-e9d4-4ca8-9965-19cea404e454" providerId="ADAL" clId="{FD343B29-0D55-446E-88D7-361F80EE7BB1}" dt="2020-11-07T06:10:43.956" v="413" actId="20577"/>
          <ac:spMkLst>
            <pc:docMk/>
            <pc:sldMk cId="3466577787" sldId="2140753955"/>
            <ac:spMk id="22" creationId="{30A16F36-A7EE-4395-9622-8789C5686167}"/>
          </ac:spMkLst>
        </pc:spChg>
        <pc:spChg chg="add mod ord modVis">
          <ac:chgData name="Patricia Bourguignon" userId="7649c7a7-e9d4-4ca8-9965-19cea404e454" providerId="ADAL" clId="{FD343B29-0D55-446E-88D7-361F80EE7BB1}" dt="2020-11-07T06:10:37.746" v="343"/>
          <ac:spMkLst>
            <pc:docMk/>
            <pc:sldMk cId="3466577787" sldId="2140753955"/>
            <ac:spMk id="24" creationId="{3FA820E9-26B4-4292-BDF5-C002139D5C83}"/>
          </ac:spMkLst>
        </pc:spChg>
        <pc:graphicFrameChg chg="add mod ord modVis">
          <ac:chgData name="Patricia Bourguignon" userId="7649c7a7-e9d4-4ca8-9965-19cea404e454" providerId="ADAL" clId="{FD343B29-0D55-446E-88D7-361F80EE7BB1}" dt="2020-11-07T06:10:44.485" v="415"/>
          <ac:graphicFrameMkLst>
            <pc:docMk/>
            <pc:sldMk cId="3466577787" sldId="2140753955"/>
            <ac:graphicFrameMk id="23" creationId="{DA05DD6E-BA24-440F-AF03-A8F6CC504945}"/>
          </ac:graphicFrameMkLst>
        </pc:graphicFrameChg>
        <pc:cxnChg chg="mod ord">
          <ac:chgData name="Patricia Bourguignon" userId="7649c7a7-e9d4-4ca8-9965-19cea404e454" providerId="ADAL" clId="{FD343B29-0D55-446E-88D7-361F80EE7BB1}" dt="2020-11-07T06:10:37.790" v="375"/>
          <ac:cxnSpMkLst>
            <pc:docMk/>
            <pc:sldMk cId="3466577787" sldId="2140753955"/>
            <ac:cxnSpMk id="17" creationId="{CE9B3E21-0E70-4984-BC80-BECE51D88C88}"/>
          </ac:cxnSpMkLst>
        </pc:cxnChg>
        <pc:cxnChg chg="mod ord">
          <ac:chgData name="Patricia Bourguignon" userId="7649c7a7-e9d4-4ca8-9965-19cea404e454" providerId="ADAL" clId="{FD343B29-0D55-446E-88D7-361F80EE7BB1}" dt="2020-11-07T06:10:37.792" v="377"/>
          <ac:cxnSpMkLst>
            <pc:docMk/>
            <pc:sldMk cId="3466577787" sldId="2140753955"/>
            <ac:cxnSpMk id="18" creationId="{9DA21435-B27C-4B4B-970D-D80D60606046}"/>
          </ac:cxnSpMkLst>
        </pc:cxnChg>
        <pc:cxnChg chg="mod ord">
          <ac:chgData name="Patricia Bourguignon" userId="7649c7a7-e9d4-4ca8-9965-19cea404e454" providerId="ADAL" clId="{FD343B29-0D55-446E-88D7-361F80EE7BB1}" dt="2020-11-07T06:10:37.794" v="379"/>
          <ac:cxnSpMkLst>
            <pc:docMk/>
            <pc:sldMk cId="3466577787" sldId="2140753955"/>
            <ac:cxnSpMk id="19" creationId="{8C7941D6-1967-4415-94D7-49B18754AB3E}"/>
          </ac:cxnSpMkLst>
        </pc:cxnChg>
      </pc:sldChg>
      <pc:sldChg chg="del">
        <pc:chgData name="Patricia Bourguignon" userId="7649c7a7-e9d4-4ca8-9965-19cea404e454" providerId="ADAL" clId="{FD343B29-0D55-446E-88D7-361F80EE7BB1}" dt="2020-11-07T06:12:19.368" v="616" actId="2696"/>
        <pc:sldMkLst>
          <pc:docMk/>
          <pc:sldMk cId="1682051130" sldId="2140753956"/>
        </pc:sldMkLst>
      </pc:sldChg>
      <pc:sldChg chg="delSp modSp modNotesTx">
        <pc:chgData name="Patricia Bourguignon" userId="7649c7a7-e9d4-4ca8-9965-19cea404e454" providerId="ADAL" clId="{FD343B29-0D55-446E-88D7-361F80EE7BB1}" dt="2020-11-07T06:12:44.308" v="666" actId="478"/>
        <pc:sldMkLst>
          <pc:docMk/>
          <pc:sldMk cId="1871761148" sldId="2140753957"/>
        </pc:sldMkLst>
        <pc:spChg chg="mod">
          <ac:chgData name="Patricia Bourguignon" userId="7649c7a7-e9d4-4ca8-9965-19cea404e454" providerId="ADAL" clId="{FD343B29-0D55-446E-88D7-361F80EE7BB1}" dt="2020-11-07T06:12:23.876" v="617" actId="207"/>
          <ac:spMkLst>
            <pc:docMk/>
            <pc:sldMk cId="1871761148" sldId="2140753957"/>
            <ac:spMk id="9" creationId="{566BE94E-A0B8-499F-902B-4F8E64260F67}"/>
          </ac:spMkLst>
        </pc:spChg>
        <pc:spChg chg="del">
          <ac:chgData name="Patricia Bourguignon" userId="7649c7a7-e9d4-4ca8-9965-19cea404e454" providerId="ADAL" clId="{FD343B29-0D55-446E-88D7-361F80EE7BB1}" dt="2020-11-07T06:12:44.308" v="666" actId="478"/>
          <ac:spMkLst>
            <pc:docMk/>
            <pc:sldMk cId="1871761148" sldId="2140753957"/>
            <ac:spMk id="33" creationId="{8E7050B9-BB88-4A6C-9C1A-57589201A7FC}"/>
          </ac:spMkLst>
        </pc:spChg>
      </pc:sldChg>
      <pc:sldChg chg="addSp delSp modSp modNotesTx">
        <pc:chgData name="Patricia Bourguignon" userId="7649c7a7-e9d4-4ca8-9965-19cea404e454" providerId="ADAL" clId="{FD343B29-0D55-446E-88D7-361F80EE7BB1}" dt="2020-11-07T06:45:39.788" v="1418" actId="14100"/>
        <pc:sldMkLst>
          <pc:docMk/>
          <pc:sldMk cId="620986159" sldId="2140753958"/>
        </pc:sldMkLst>
        <pc:spChg chg="del">
          <ac:chgData name="Patricia Bourguignon" userId="7649c7a7-e9d4-4ca8-9965-19cea404e454" providerId="ADAL" clId="{FD343B29-0D55-446E-88D7-361F80EE7BB1}" dt="2020-11-07T06:13:16.829" v="668" actId="478"/>
          <ac:spMkLst>
            <pc:docMk/>
            <pc:sldMk cId="620986159" sldId="2140753958"/>
            <ac:spMk id="3" creationId="{43A1305E-BCAE-49A3-9F2C-479A239BD7B6}"/>
          </ac:spMkLst>
        </pc:spChg>
        <pc:spChg chg="add mod ord">
          <ac:chgData name="Patricia Bourguignon" userId="7649c7a7-e9d4-4ca8-9965-19cea404e454" providerId="ADAL" clId="{FD343B29-0D55-446E-88D7-361F80EE7BB1}" dt="2020-11-07T06:14:46.134" v="822" actId="20577"/>
          <ac:spMkLst>
            <pc:docMk/>
            <pc:sldMk cId="620986159" sldId="2140753958"/>
            <ac:spMk id="4" creationId="{31759344-8654-4908-80DC-7523E6291BAA}"/>
          </ac:spMkLst>
        </pc:spChg>
        <pc:spChg chg="add mod">
          <ac:chgData name="Patricia Bourguignon" userId="7649c7a7-e9d4-4ca8-9965-19cea404e454" providerId="ADAL" clId="{FD343B29-0D55-446E-88D7-361F80EE7BB1}" dt="2020-11-07T06:14:30.114" v="737"/>
          <ac:spMkLst>
            <pc:docMk/>
            <pc:sldMk cId="620986159" sldId="2140753958"/>
            <ac:spMk id="6" creationId="{F1E3CDEA-ECA3-4E29-9306-767C57965C22}"/>
          </ac:spMkLst>
        </pc:spChg>
        <pc:spChg chg="add del">
          <ac:chgData name="Patricia Bourguignon" userId="7649c7a7-e9d4-4ca8-9965-19cea404e454" providerId="ADAL" clId="{FD343B29-0D55-446E-88D7-361F80EE7BB1}" dt="2020-11-07T06:14:19.895" v="687" actId="478"/>
          <ac:spMkLst>
            <pc:docMk/>
            <pc:sldMk cId="620986159" sldId="2140753958"/>
            <ac:spMk id="7" creationId="{1B37FBC7-7B9E-4098-9BB6-D0BF69185C93}"/>
          </ac:spMkLst>
        </pc:spChg>
        <pc:spChg chg="add del mod">
          <ac:chgData name="Patricia Bourguignon" userId="7649c7a7-e9d4-4ca8-9965-19cea404e454" providerId="ADAL" clId="{FD343B29-0D55-446E-88D7-361F80EE7BB1}" dt="2020-11-07T06:14:49.786" v="825" actId="478"/>
          <ac:spMkLst>
            <pc:docMk/>
            <pc:sldMk cId="620986159" sldId="2140753958"/>
            <ac:spMk id="8" creationId="{160B0B12-4C11-4F77-9BFC-0370A537E50E}"/>
          </ac:spMkLst>
        </pc:spChg>
        <pc:spChg chg="add mod ord modVis">
          <ac:chgData name="Patricia Bourguignon" userId="7649c7a7-e9d4-4ca8-9965-19cea404e454" providerId="ADAL" clId="{FD343B29-0D55-446E-88D7-361F80EE7BB1}" dt="2020-11-07T06:14:55.484" v="848" actId="6549"/>
          <ac:spMkLst>
            <pc:docMk/>
            <pc:sldMk cId="620986159" sldId="2140753958"/>
            <ac:spMk id="9" creationId="{7F6C7A13-73ED-4FEA-B037-CCD6B4375367}"/>
          </ac:spMkLst>
        </pc:spChg>
        <pc:spChg chg="add mod">
          <ac:chgData name="Patricia Bourguignon" userId="7649c7a7-e9d4-4ca8-9965-19cea404e454" providerId="ADAL" clId="{FD343B29-0D55-446E-88D7-361F80EE7BB1}" dt="2020-11-07T06:45:39.788" v="1418" actId="14100"/>
          <ac:spMkLst>
            <pc:docMk/>
            <pc:sldMk cId="620986159" sldId="2140753958"/>
            <ac:spMk id="10" creationId="{1755DD8C-EA56-4C35-9A49-6B20CFB09A79}"/>
          </ac:spMkLst>
        </pc:spChg>
        <pc:graphicFrameChg chg="add mod ord modVis">
          <ac:chgData name="Patricia Bourguignon" userId="7649c7a7-e9d4-4ca8-9965-19cea404e454" providerId="ADAL" clId="{FD343B29-0D55-446E-88D7-361F80EE7BB1}" dt="2020-11-07T06:14:55.495" v="850"/>
          <ac:graphicFrameMkLst>
            <pc:docMk/>
            <pc:sldMk cId="620986159" sldId="2140753958"/>
            <ac:graphicFrameMk id="5" creationId="{F9C23666-2974-493A-AF2E-F0DB58E6AAD5}"/>
          </ac:graphicFrameMkLst>
        </pc:graphicFrameChg>
        <pc:picChg chg="mod ord">
          <ac:chgData name="Patricia Bourguignon" userId="7649c7a7-e9d4-4ca8-9965-19cea404e454" providerId="ADAL" clId="{FD343B29-0D55-446E-88D7-361F80EE7BB1}" dt="2020-11-07T06:20:40.215" v="1015" actId="1076"/>
          <ac:picMkLst>
            <pc:docMk/>
            <pc:sldMk cId="620986159" sldId="2140753958"/>
            <ac:picMk id="2" creationId="{E0E7BA81-D002-4CBC-880C-EDDE5444B18C}"/>
          </ac:picMkLst>
        </pc:picChg>
      </pc:sldChg>
      <pc:sldChg chg="addSp delSp modSp modNotesTx">
        <pc:chgData name="Patricia Bourguignon" userId="7649c7a7-e9d4-4ca8-9965-19cea404e454" providerId="ADAL" clId="{FD343B29-0D55-446E-88D7-361F80EE7BB1}" dt="2020-11-07T06:31:35.239" v="1320"/>
        <pc:sldMkLst>
          <pc:docMk/>
          <pc:sldMk cId="1146619272" sldId="2140753959"/>
        </pc:sldMkLst>
        <pc:spChg chg="del">
          <ac:chgData name="Patricia Bourguignon" userId="7649c7a7-e9d4-4ca8-9965-19cea404e454" providerId="ADAL" clId="{FD343B29-0D55-446E-88D7-361F80EE7BB1}" dt="2020-11-07T06:24:03.530" v="1099" actId="478"/>
          <ac:spMkLst>
            <pc:docMk/>
            <pc:sldMk cId="1146619272" sldId="2140753959"/>
            <ac:spMk id="9" creationId="{4B63658E-1F1B-4A18-928C-9F931EF0D29F}"/>
          </ac:spMkLst>
        </pc:spChg>
        <pc:spChg chg="del">
          <ac:chgData name="Patricia Bourguignon" userId="7649c7a7-e9d4-4ca8-9965-19cea404e454" providerId="ADAL" clId="{FD343B29-0D55-446E-88D7-361F80EE7BB1}" dt="2020-11-07T06:24:03.530" v="1099" actId="478"/>
          <ac:spMkLst>
            <pc:docMk/>
            <pc:sldMk cId="1146619272" sldId="2140753959"/>
            <ac:spMk id="10" creationId="{70CD441E-4922-4F4D-ADA5-5B135DA6CEEA}"/>
          </ac:spMkLst>
        </pc:spChg>
        <pc:spChg chg="del">
          <ac:chgData name="Patricia Bourguignon" userId="7649c7a7-e9d4-4ca8-9965-19cea404e454" providerId="ADAL" clId="{FD343B29-0D55-446E-88D7-361F80EE7BB1}" dt="2020-11-07T06:24:03.530" v="1099" actId="478"/>
          <ac:spMkLst>
            <pc:docMk/>
            <pc:sldMk cId="1146619272" sldId="2140753959"/>
            <ac:spMk id="18" creationId="{6D90D57E-E885-4166-B7D1-451B43288C85}"/>
          </ac:spMkLst>
        </pc:spChg>
        <pc:spChg chg="add mod">
          <ac:chgData name="Patricia Bourguignon" userId="7649c7a7-e9d4-4ca8-9965-19cea404e454" providerId="ADAL" clId="{FD343B29-0D55-446E-88D7-361F80EE7BB1}" dt="2020-11-07T06:24:50.506" v="1102" actId="1076"/>
          <ac:spMkLst>
            <pc:docMk/>
            <pc:sldMk cId="1146619272" sldId="2140753959"/>
            <ac:spMk id="19" creationId="{B67AB779-ACBD-49E3-B45D-86091BCAAB22}"/>
          </ac:spMkLst>
        </pc:spChg>
        <pc:spChg chg="add mod">
          <ac:chgData name="Patricia Bourguignon" userId="7649c7a7-e9d4-4ca8-9965-19cea404e454" providerId="ADAL" clId="{FD343B29-0D55-446E-88D7-361F80EE7BB1}" dt="2020-11-07T06:24:50.506" v="1102" actId="1076"/>
          <ac:spMkLst>
            <pc:docMk/>
            <pc:sldMk cId="1146619272" sldId="2140753959"/>
            <ac:spMk id="20" creationId="{1C9AD42A-753D-431B-BFD4-D0F5224053F3}"/>
          </ac:spMkLst>
        </pc:spChg>
        <pc:spChg chg="add mod">
          <ac:chgData name="Patricia Bourguignon" userId="7649c7a7-e9d4-4ca8-9965-19cea404e454" providerId="ADAL" clId="{FD343B29-0D55-446E-88D7-361F80EE7BB1}" dt="2020-11-07T06:24:50.506" v="1102" actId="1076"/>
          <ac:spMkLst>
            <pc:docMk/>
            <pc:sldMk cId="1146619272" sldId="2140753959"/>
            <ac:spMk id="21" creationId="{5C09D212-D02B-49AE-9931-557B718C6C04}"/>
          </ac:spMkLst>
        </pc:spChg>
        <pc:grpChg chg="del">
          <ac:chgData name="Patricia Bourguignon" userId="7649c7a7-e9d4-4ca8-9965-19cea404e454" providerId="ADAL" clId="{FD343B29-0D55-446E-88D7-361F80EE7BB1}" dt="2020-11-07T06:24:03.530" v="1099" actId="478"/>
          <ac:grpSpMkLst>
            <pc:docMk/>
            <pc:sldMk cId="1146619272" sldId="2140753959"/>
            <ac:grpSpMk id="11" creationId="{30F199F4-34C6-42B9-8132-74859BEE526A}"/>
          </ac:grpSpMkLst>
        </pc:grpChg>
        <pc:picChg chg="mod">
          <ac:chgData name="Patricia Bourguignon" userId="7649c7a7-e9d4-4ca8-9965-19cea404e454" providerId="ADAL" clId="{FD343B29-0D55-446E-88D7-361F80EE7BB1}" dt="2020-11-07T06:24:14.615" v="1100" actId="1076"/>
          <ac:picMkLst>
            <pc:docMk/>
            <pc:sldMk cId="1146619272" sldId="2140753959"/>
            <ac:picMk id="2" creationId="{061FAFE7-F9D0-49B9-B92B-943637ADCFFB}"/>
          </ac:picMkLst>
        </pc:picChg>
        <pc:picChg chg="mod">
          <ac:chgData name="Patricia Bourguignon" userId="7649c7a7-e9d4-4ca8-9965-19cea404e454" providerId="ADAL" clId="{FD343B29-0D55-446E-88D7-361F80EE7BB1}" dt="2020-11-07T06:24:14.615" v="1100" actId="1076"/>
          <ac:picMkLst>
            <pc:docMk/>
            <pc:sldMk cId="1146619272" sldId="2140753959"/>
            <ac:picMk id="3" creationId="{D1A086B9-8E9C-4911-B287-D78EF631F357}"/>
          </ac:picMkLst>
        </pc:picChg>
        <pc:picChg chg="mod">
          <ac:chgData name="Patricia Bourguignon" userId="7649c7a7-e9d4-4ca8-9965-19cea404e454" providerId="ADAL" clId="{FD343B29-0D55-446E-88D7-361F80EE7BB1}" dt="2020-11-07T06:24:14.615" v="1100" actId="1076"/>
          <ac:picMkLst>
            <pc:docMk/>
            <pc:sldMk cId="1146619272" sldId="2140753959"/>
            <ac:picMk id="4" creationId="{E32FC3F7-177D-4778-B86A-C549A9980A79}"/>
          </ac:picMkLst>
        </pc:picChg>
        <pc:picChg chg="mod">
          <ac:chgData name="Patricia Bourguignon" userId="7649c7a7-e9d4-4ca8-9965-19cea404e454" providerId="ADAL" clId="{FD343B29-0D55-446E-88D7-361F80EE7BB1}" dt="2020-11-07T06:24:14.615" v="1100" actId="1076"/>
          <ac:picMkLst>
            <pc:docMk/>
            <pc:sldMk cId="1146619272" sldId="2140753959"/>
            <ac:picMk id="5" creationId="{63926E6B-6C33-4417-B0A0-02A61DCA3E9A}"/>
          </ac:picMkLst>
        </pc:picChg>
        <pc:picChg chg="mod">
          <ac:chgData name="Patricia Bourguignon" userId="7649c7a7-e9d4-4ca8-9965-19cea404e454" providerId="ADAL" clId="{FD343B29-0D55-446E-88D7-361F80EE7BB1}" dt="2020-11-07T06:24:14.615" v="1100" actId="1076"/>
          <ac:picMkLst>
            <pc:docMk/>
            <pc:sldMk cId="1146619272" sldId="2140753959"/>
            <ac:picMk id="6" creationId="{D780BC91-B9E5-4FD0-90BD-884812D7B2E3}"/>
          </ac:picMkLst>
        </pc:picChg>
        <pc:picChg chg="mod">
          <ac:chgData name="Patricia Bourguignon" userId="7649c7a7-e9d4-4ca8-9965-19cea404e454" providerId="ADAL" clId="{FD343B29-0D55-446E-88D7-361F80EE7BB1}" dt="2020-11-07T06:24:14.615" v="1100" actId="1076"/>
          <ac:picMkLst>
            <pc:docMk/>
            <pc:sldMk cId="1146619272" sldId="2140753959"/>
            <ac:picMk id="7" creationId="{87127070-40C0-45B4-B3E8-E2CB57A5F8E0}"/>
          </ac:picMkLst>
        </pc:picChg>
        <pc:picChg chg="mod">
          <ac:chgData name="Patricia Bourguignon" userId="7649c7a7-e9d4-4ca8-9965-19cea404e454" providerId="ADAL" clId="{FD343B29-0D55-446E-88D7-361F80EE7BB1}" dt="2020-11-07T06:24:14.615" v="1100" actId="1076"/>
          <ac:picMkLst>
            <pc:docMk/>
            <pc:sldMk cId="1146619272" sldId="2140753959"/>
            <ac:picMk id="8" creationId="{E1479CFB-D333-46FF-8963-A4E68C6DC8B9}"/>
          </ac:picMkLst>
        </pc:picChg>
        <pc:picChg chg="del">
          <ac:chgData name="Patricia Bourguignon" userId="7649c7a7-e9d4-4ca8-9965-19cea404e454" providerId="ADAL" clId="{FD343B29-0D55-446E-88D7-361F80EE7BB1}" dt="2020-11-07T06:24:03.530" v="1099" actId="478"/>
          <ac:picMkLst>
            <pc:docMk/>
            <pc:sldMk cId="1146619272" sldId="2140753959"/>
            <ac:picMk id="17" creationId="{FDF736D7-B3B0-4264-BD53-05AB536BEC7E}"/>
          </ac:picMkLst>
        </pc:picChg>
        <pc:picChg chg="del">
          <ac:chgData name="Patricia Bourguignon" userId="7649c7a7-e9d4-4ca8-9965-19cea404e454" providerId="ADAL" clId="{FD343B29-0D55-446E-88D7-361F80EE7BB1}" dt="2020-11-07T06:31:35.239" v="1320"/>
          <ac:picMkLst>
            <pc:docMk/>
            <pc:sldMk cId="1146619272" sldId="2140753959"/>
            <ac:picMk id="22" creationId="{E45AC843-145E-43E0-A256-F04C55B77884}"/>
          </ac:picMkLst>
        </pc:picChg>
      </pc:sldChg>
      <pc:sldChg chg="del">
        <pc:chgData name="Patricia Bourguignon" userId="7649c7a7-e9d4-4ca8-9965-19cea404e454" providerId="ADAL" clId="{FD343B29-0D55-446E-88D7-361F80EE7BB1}" dt="2020-11-07T06:26:47.044" v="1161" actId="2696"/>
        <pc:sldMkLst>
          <pc:docMk/>
          <pc:sldMk cId="2430657384" sldId="2140753960"/>
        </pc:sldMkLst>
      </pc:sldChg>
      <pc:sldChg chg="delSp modNotesTx">
        <pc:chgData name="Patricia Bourguignon" userId="7649c7a7-e9d4-4ca8-9965-19cea404e454" providerId="ADAL" clId="{FD343B29-0D55-446E-88D7-361F80EE7BB1}" dt="2020-11-07T06:25:37.129" v="1153" actId="478"/>
        <pc:sldMkLst>
          <pc:docMk/>
          <pc:sldMk cId="2476088589" sldId="2140753962"/>
        </pc:sldMkLst>
        <pc:spChg chg="del">
          <ac:chgData name="Patricia Bourguignon" userId="7649c7a7-e9d4-4ca8-9965-19cea404e454" providerId="ADAL" clId="{FD343B29-0D55-446E-88D7-361F80EE7BB1}" dt="2020-11-07T06:25:37.129" v="1153" actId="478"/>
          <ac:spMkLst>
            <pc:docMk/>
            <pc:sldMk cId="2476088589" sldId="2140753962"/>
            <ac:spMk id="28" creationId="{900258F5-B872-418A-8707-363C7C33D2F7}"/>
          </ac:spMkLst>
        </pc:spChg>
      </pc:sldChg>
      <pc:sldChg chg="addSp modSp add modNotesTx">
        <pc:chgData name="Patricia Bourguignon" userId="7649c7a7-e9d4-4ca8-9965-19cea404e454" providerId="ADAL" clId="{FD343B29-0D55-446E-88D7-361F80EE7BB1}" dt="2020-11-07T06:44:52.657" v="1417"/>
        <pc:sldMkLst>
          <pc:docMk/>
          <pc:sldMk cId="1661569967" sldId="2140753963"/>
        </pc:sldMkLst>
        <pc:spChg chg="add mod">
          <ac:chgData name="Patricia Bourguignon" userId="7649c7a7-e9d4-4ca8-9965-19cea404e454" providerId="ADAL" clId="{FD343B29-0D55-446E-88D7-361F80EE7BB1}" dt="2020-11-07T06:44:19.772" v="1415" actId="1076"/>
          <ac:spMkLst>
            <pc:docMk/>
            <pc:sldMk cId="1661569967" sldId="2140753963"/>
            <ac:spMk id="3" creationId="{A607115D-29A2-4E0E-903D-8EFC091B2662}"/>
          </ac:spMkLst>
        </pc:spChg>
        <pc:spChg chg="add mod">
          <ac:chgData name="Patricia Bourguignon" userId="7649c7a7-e9d4-4ca8-9965-19cea404e454" providerId="ADAL" clId="{FD343B29-0D55-446E-88D7-361F80EE7BB1}" dt="2020-11-07T06:44:09.099" v="1413" actId="1076"/>
          <ac:spMkLst>
            <pc:docMk/>
            <pc:sldMk cId="1661569967" sldId="2140753963"/>
            <ac:spMk id="4" creationId="{8C66E3F4-2EEA-4AC3-B5B8-8F33554BD574}"/>
          </ac:spMkLst>
        </pc:spChg>
        <pc:spChg chg="add mod">
          <ac:chgData name="Patricia Bourguignon" userId="7649c7a7-e9d4-4ca8-9965-19cea404e454" providerId="ADAL" clId="{FD343B29-0D55-446E-88D7-361F80EE7BB1}" dt="2020-11-07T06:43:12.459" v="1404" actId="1076"/>
          <ac:spMkLst>
            <pc:docMk/>
            <pc:sldMk cId="1661569967" sldId="2140753963"/>
            <ac:spMk id="5" creationId="{2D86923F-6BCF-4ED9-8E9B-29B25F3A2940}"/>
          </ac:spMkLst>
        </pc:spChg>
        <pc:spChg chg="add mod">
          <ac:chgData name="Patricia Bourguignon" userId="7649c7a7-e9d4-4ca8-9965-19cea404e454" providerId="ADAL" clId="{FD343B29-0D55-446E-88D7-361F80EE7BB1}" dt="2020-11-07T06:44:52.657" v="1417"/>
          <ac:spMkLst>
            <pc:docMk/>
            <pc:sldMk cId="1661569967" sldId="2140753963"/>
            <ac:spMk id="6" creationId="{3915BBD5-EAAF-4931-AE70-EC1B88A25595}"/>
          </ac:spMkLst>
        </pc:spChg>
        <pc:picChg chg="add mod">
          <ac:chgData name="Patricia Bourguignon" userId="7649c7a7-e9d4-4ca8-9965-19cea404e454" providerId="ADAL" clId="{FD343B29-0D55-446E-88D7-361F80EE7BB1}" dt="2020-11-07T06:40:27.938" v="1332" actId="1076"/>
          <ac:picMkLst>
            <pc:docMk/>
            <pc:sldMk cId="1661569967" sldId="2140753963"/>
            <ac:picMk id="2" creationId="{E26F3B5E-D39C-4D51-8C39-F58B12BF788A}"/>
          </ac:picMkLst>
        </pc:picChg>
      </pc:sldChg>
      <pc:sldChg chg="addSp modSp add del">
        <pc:chgData name="Patricia Bourguignon" userId="7649c7a7-e9d4-4ca8-9965-19cea404e454" providerId="ADAL" clId="{FD343B29-0D55-446E-88D7-361F80EE7BB1}" dt="2020-11-07T07:04:16.247" v="1571" actId="2696"/>
        <pc:sldMkLst>
          <pc:docMk/>
          <pc:sldMk cId="4026261702" sldId="2140753964"/>
        </pc:sldMkLst>
        <pc:spChg chg="mod ord">
          <ac:chgData name="Patricia Bourguignon" userId="7649c7a7-e9d4-4ca8-9965-19cea404e454" providerId="ADAL" clId="{FD343B29-0D55-446E-88D7-361F80EE7BB1}" dt="2020-11-07T06:57:12.125" v="1527" actId="20577"/>
          <ac:spMkLst>
            <pc:docMk/>
            <pc:sldMk cId="4026261702" sldId="2140753964"/>
            <ac:spMk id="2" creationId="{D38E678B-21D8-4D5E-8D39-8D1A1EDCAAAC}"/>
          </ac:spMkLst>
        </pc:spChg>
        <pc:spChg chg="add mod ord">
          <ac:chgData name="Patricia Bourguignon" userId="7649c7a7-e9d4-4ca8-9965-19cea404e454" providerId="ADAL" clId="{FD343B29-0D55-446E-88D7-361F80EE7BB1}" dt="2020-11-07T06:56:56.201" v="1479"/>
          <ac:spMkLst>
            <pc:docMk/>
            <pc:sldMk cId="4026261702" sldId="2140753964"/>
            <ac:spMk id="3" creationId="{CDA0EFF3-E66F-43E4-90D2-2A19E3D1B698}"/>
          </ac:spMkLst>
        </pc:spChg>
        <pc:spChg chg="add mod ord modVis">
          <ac:chgData name="Patricia Bourguignon" userId="7649c7a7-e9d4-4ca8-9965-19cea404e454" providerId="ADAL" clId="{FD343B29-0D55-446E-88D7-361F80EE7BB1}" dt="2020-11-07T06:56:56.194" v="1475"/>
          <ac:spMkLst>
            <pc:docMk/>
            <pc:sldMk cId="4026261702" sldId="2140753964"/>
            <ac:spMk id="4" creationId="{659AC90B-0355-4F5F-BE8F-B074EDDF9313}"/>
          </ac:spMkLst>
        </pc:spChg>
        <pc:spChg chg="add mod">
          <ac:chgData name="Patricia Bourguignon" userId="7649c7a7-e9d4-4ca8-9965-19cea404e454" providerId="ADAL" clId="{FD343B29-0D55-446E-88D7-361F80EE7BB1}" dt="2020-11-07T06:57:57.188" v="1555" actId="113"/>
          <ac:spMkLst>
            <pc:docMk/>
            <pc:sldMk cId="4026261702" sldId="2140753964"/>
            <ac:spMk id="6" creationId="{73EAAE2E-57C5-4AB6-B967-34B68DD58241}"/>
          </ac:spMkLst>
        </pc:spChg>
        <pc:graphicFrameChg chg="add mod ord modVis">
          <ac:chgData name="Patricia Bourguignon" userId="7649c7a7-e9d4-4ca8-9965-19cea404e454" providerId="ADAL" clId="{FD343B29-0D55-446E-88D7-361F80EE7BB1}" dt="2020-11-07T06:57:12.642" v="1529"/>
          <ac:graphicFrameMkLst>
            <pc:docMk/>
            <pc:sldMk cId="4026261702" sldId="2140753964"/>
            <ac:graphicFrameMk id="5" creationId="{350859C2-9EAB-4966-B58F-87F34999051D}"/>
          </ac:graphicFrameMkLst>
        </pc:graphicFrameChg>
      </pc:sldChg>
      <pc:sldChg chg="del">
        <pc:chgData name="Patricia Bourguignon" userId="7649c7a7-e9d4-4ca8-9965-19cea404e454" providerId="ADAL" clId="{FD343B29-0D55-446E-88D7-361F80EE7BB1}" dt="2020-11-07T06:28:36.299" v="1165" actId="2696"/>
        <pc:sldMkLst>
          <pc:docMk/>
          <pc:sldMk cId="392733729" sldId="2140753965"/>
        </pc:sldMkLst>
      </pc:sldChg>
      <pc:sldChg chg="addSp delSp modSp add del">
        <pc:chgData name="Patricia Bourguignon" userId="7649c7a7-e9d4-4ca8-9965-19cea404e454" providerId="ADAL" clId="{FD343B29-0D55-446E-88D7-361F80EE7BB1}" dt="2020-11-07T07:04:16.200" v="1570" actId="2696"/>
        <pc:sldMkLst>
          <pc:docMk/>
          <pc:sldMk cId="2207646355" sldId="2140753965"/>
        </pc:sldMkLst>
        <pc:picChg chg="add del mod">
          <ac:chgData name="Patricia Bourguignon" userId="7649c7a7-e9d4-4ca8-9965-19cea404e454" providerId="ADAL" clId="{FD343B29-0D55-446E-88D7-361F80EE7BB1}" dt="2020-11-07T07:02:19.207" v="1561" actId="478"/>
          <ac:picMkLst>
            <pc:docMk/>
            <pc:sldMk cId="2207646355" sldId="2140753965"/>
            <ac:picMk id="3" creationId="{F5B8C228-7EF5-4A6B-8AE3-902E47D34CFD}"/>
          </ac:picMkLst>
        </pc:picChg>
        <pc:picChg chg="add mod">
          <ac:chgData name="Patricia Bourguignon" userId="7649c7a7-e9d4-4ca8-9965-19cea404e454" providerId="ADAL" clId="{FD343B29-0D55-446E-88D7-361F80EE7BB1}" dt="2020-11-07T07:02:57.268" v="1568" actId="1076"/>
          <ac:picMkLst>
            <pc:docMk/>
            <pc:sldMk cId="2207646355" sldId="2140753965"/>
            <ac:picMk id="4" creationId="{C1F1DED7-B6D7-4029-9D4B-96697E572CAE}"/>
          </ac:picMkLst>
        </pc:picChg>
        <pc:picChg chg="add mod">
          <ac:chgData name="Patricia Bourguignon" userId="7649c7a7-e9d4-4ca8-9965-19cea404e454" providerId="ADAL" clId="{FD343B29-0D55-446E-88D7-361F80EE7BB1}" dt="2020-11-07T07:02:59.683" v="1569" actId="1076"/>
          <ac:picMkLst>
            <pc:docMk/>
            <pc:sldMk cId="2207646355" sldId="2140753965"/>
            <ac:picMk id="5" creationId="{9A26B37E-0FC1-463A-8645-F9426F7EF9FE}"/>
          </ac:picMkLst>
        </pc:picChg>
      </pc:sldChg>
      <pc:sldChg chg="del">
        <pc:chgData name="Patricia Bourguignon" userId="7649c7a7-e9d4-4ca8-9965-19cea404e454" providerId="ADAL" clId="{FD343B29-0D55-446E-88D7-361F80EE7BB1}" dt="2020-11-07T06:26:10.564" v="1154" actId="2696"/>
        <pc:sldMkLst>
          <pc:docMk/>
          <pc:sldMk cId="3475808315" sldId="2140753967"/>
        </pc:sldMkLst>
      </pc:sldChg>
      <pc:sldChg chg="del">
        <pc:chgData name="Patricia Bourguignon" userId="7649c7a7-e9d4-4ca8-9965-19cea404e454" providerId="ADAL" clId="{FD343B29-0D55-446E-88D7-361F80EE7BB1}" dt="2020-11-07T06:26:14.082" v="1156" actId="2696"/>
        <pc:sldMkLst>
          <pc:docMk/>
          <pc:sldMk cId="1363925722" sldId="2140753968"/>
        </pc:sldMkLst>
      </pc:sldChg>
      <pc:sldChg chg="del">
        <pc:chgData name="Patricia Bourguignon" userId="7649c7a7-e9d4-4ca8-9965-19cea404e454" providerId="ADAL" clId="{FD343B29-0D55-446E-88D7-361F80EE7BB1}" dt="2020-11-07T06:26:21.189" v="1157" actId="2696"/>
        <pc:sldMkLst>
          <pc:docMk/>
          <pc:sldMk cId="1203487378" sldId="2140753970"/>
        </pc:sldMkLst>
      </pc:sldChg>
      <pc:sldChg chg="del">
        <pc:chgData name="Patricia Bourguignon" userId="7649c7a7-e9d4-4ca8-9965-19cea404e454" providerId="ADAL" clId="{FD343B29-0D55-446E-88D7-361F80EE7BB1}" dt="2020-11-07T06:26:30.186" v="1158" actId="2696"/>
        <pc:sldMkLst>
          <pc:docMk/>
          <pc:sldMk cId="1591288535" sldId="2140753972"/>
        </pc:sldMkLst>
      </pc:sldChg>
      <pc:sldChg chg="del">
        <pc:chgData name="Patricia Bourguignon" userId="7649c7a7-e9d4-4ca8-9965-19cea404e454" providerId="ADAL" clId="{FD343B29-0D55-446E-88D7-361F80EE7BB1}" dt="2020-11-07T06:26:33.980" v="1160" actId="2696"/>
        <pc:sldMkLst>
          <pc:docMk/>
          <pc:sldMk cId="2317266617" sldId="2140753973"/>
        </pc:sldMkLst>
      </pc:sldChg>
    </pc:docChg>
  </pc:docChgLst>
  <pc:docChgLst>
    <pc:chgData name="Patricia Bourguignon" userId="7649c7a7-e9d4-4ca8-9965-19cea404e454" providerId="ADAL" clId="{EB72D05F-3036-405C-8B2B-35ED5CAAFD83}"/>
    <pc:docChg chg="modSld">
      <pc:chgData name="Patricia Bourguignon" userId="7649c7a7-e9d4-4ca8-9965-19cea404e454" providerId="ADAL" clId="{EB72D05F-3036-405C-8B2B-35ED5CAAFD83}" dt="2020-11-07T11:12:26.277" v="1" actId="20577"/>
      <pc:docMkLst>
        <pc:docMk/>
      </pc:docMkLst>
      <pc:sldChg chg="modNotesTx">
        <pc:chgData name="Patricia Bourguignon" userId="7649c7a7-e9d4-4ca8-9965-19cea404e454" providerId="ADAL" clId="{EB72D05F-3036-405C-8B2B-35ED5CAAFD83}" dt="2020-11-07T09:48:39.206" v="0" actId="6549"/>
        <pc:sldMkLst>
          <pc:docMk/>
          <pc:sldMk cId="2659585244" sldId="589"/>
        </pc:sldMkLst>
      </pc:sldChg>
      <pc:sldChg chg="modSp">
        <pc:chgData name="Patricia Bourguignon" userId="7649c7a7-e9d4-4ca8-9965-19cea404e454" providerId="ADAL" clId="{EB72D05F-3036-405C-8B2B-35ED5CAAFD83}" dt="2020-11-07T11:12:26.277" v="1" actId="20577"/>
        <pc:sldMkLst>
          <pc:docMk/>
          <pc:sldMk cId="938567324" sldId="841"/>
        </pc:sldMkLst>
        <pc:spChg chg="mod">
          <ac:chgData name="Patricia Bourguignon" userId="7649c7a7-e9d4-4ca8-9965-19cea404e454" providerId="ADAL" clId="{EB72D05F-3036-405C-8B2B-35ED5CAAFD83}" dt="2020-11-07T11:12:26.277" v="1" actId="20577"/>
          <ac:spMkLst>
            <pc:docMk/>
            <pc:sldMk cId="938567324" sldId="841"/>
            <ac:spMk id="7" creationId="{BD18E222-1FA9-4D48-8B0A-56D35C2FD48F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C1F6020-62A2-46E1-AD61-9902DD39F1C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26E16B7-2E4C-4672-B03D-4696A536600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2CAA98-C04A-48D3-B860-AEF31D949C4A}" type="datetimeFigureOut">
              <a:rPr lang="fr-BE" smtClean="0"/>
              <a:t>07-11-20</a:t>
            </a:fld>
            <a:endParaRPr lang="fr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EABD7F-FACF-4320-9C91-98503D23A6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E623AD-80A4-4F5E-AFD9-6BEF39796C4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068C41-766E-4C9A-9E56-930DA376C6DE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4381405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00175" y="43815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71475" y="3876674"/>
            <a:ext cx="6172201" cy="47148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BE" noProof="0"/>
              <a:t>Edit Master text styles</a:t>
            </a:r>
          </a:p>
          <a:p>
            <a:pPr lvl="1"/>
            <a:r>
              <a:rPr lang="fr-BE" noProof="0"/>
              <a:t>Second level</a:t>
            </a:r>
          </a:p>
          <a:p>
            <a:pPr lvl="2"/>
            <a:r>
              <a:rPr lang="fr-BE" noProof="0"/>
              <a:t>Third level</a:t>
            </a:r>
          </a:p>
          <a:p>
            <a:pPr lvl="3"/>
            <a:r>
              <a:rPr lang="fr-BE" noProof="0"/>
              <a:t>Fourth level</a:t>
            </a:r>
          </a:p>
          <a:p>
            <a:pPr lvl="4"/>
            <a:r>
              <a:rPr lang="fr-BE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685213"/>
            <a:ext cx="5267325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fr-BE" dirty="0"/>
              <a:t>Conférence UDNF « Nutrithérapie et Prévention santé » _ Version 01 Jan 201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248399" y="8685213"/>
            <a:ext cx="608013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012F1E-4544-4355-8FC6-7CCEB44B6354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4681468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fr/users/Alexandra_Koch-621802/?utm_source=link-attribution&amp;utm_medium=referral&amp;utm_campaign=image&amp;utm_content=5247232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pixabay.com/fr/?utm_source=link-attribution&amp;utm_medium=referral&amp;utm_campaign=image&amp;utm_content=5247232" TargetMode="Externa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fr/users/krustovin-15222790/?utm_source=link-attribution&amp;utm_medium=referral&amp;utm_campaign=image&amp;utm_content=5551902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pixabay.com/fr/?utm_source=link-attribution&amp;utm_medium=referral&amp;utm_campaign=image&amp;utm_content=5551902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fr/users/Jananec-16042123/?utm_source=link-attribution&amp;utm_medium=referral&amp;utm_campaign=image&amp;utm_content=5170801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pixabay.com/fr/?utm_source=link-attribution&amp;utm_medium=referral&amp;utm_campaign=image&amp;utm_content=5170801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012F1E-4544-4355-8FC6-7CCEB44B6354}" type="slidenum">
              <a:rPr lang="fr-BE" smtClean="0"/>
              <a:pPr/>
              <a:t>1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5465006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dirty="0"/>
              <a:t>Schéma : P Bourguign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012F1E-4544-4355-8FC6-7CCEB44B6354}" type="slidenum">
              <a:rPr lang="fr-BE" smtClean="0"/>
              <a:t>10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2095796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dirty="0"/>
              <a:t>Schéma P Bourguign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012F1E-4544-4355-8FC6-7CCEB44B6354}" type="slidenum">
              <a:rPr lang="fr-BE" smtClean="0"/>
              <a:t>11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6949714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dirty="0"/>
              <a:t>Pixabay_spoon-2426623_192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012F1E-4544-4355-8FC6-7CCEB44B6354}" type="slidenum">
              <a:rPr lang="fr-BE" smtClean="0"/>
              <a:t>12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003548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BE" dirty="0">
                <a:solidFill>
                  <a:srgbClr val="191B26"/>
                </a:solidFill>
                <a:latin typeface="Open Sans"/>
              </a:rPr>
              <a:t>Image par </a:t>
            </a:r>
            <a:r>
              <a:rPr lang="fr-BE" u="sng" dirty="0" err="1">
                <a:solidFill>
                  <a:srgbClr val="191B26"/>
                </a:solidFill>
                <a:latin typeface="Open Sans"/>
                <a:hlinkClick r:id="rId3"/>
              </a:rPr>
              <a:t>Alexandra_Koch</a:t>
            </a:r>
            <a:r>
              <a:rPr lang="fr-BE" dirty="0">
                <a:solidFill>
                  <a:srgbClr val="191B26"/>
                </a:solidFill>
                <a:latin typeface="Open Sans"/>
              </a:rPr>
              <a:t> de </a:t>
            </a:r>
            <a:r>
              <a:rPr lang="fr-BE" u="sng" dirty="0" err="1">
                <a:solidFill>
                  <a:srgbClr val="191B26"/>
                </a:solidFill>
                <a:latin typeface="Open Sans"/>
                <a:hlinkClick r:id="rId4"/>
              </a:rPr>
              <a:t>Pixabay</a:t>
            </a:r>
            <a:r>
              <a:rPr lang="fr-BE" dirty="0">
                <a:solidFill>
                  <a:srgbClr val="191B26"/>
                </a:solidFill>
                <a:latin typeface="Open Sans"/>
              </a:rPr>
              <a:t> </a:t>
            </a:r>
            <a:endParaRPr lang="fr-BE" dirty="0"/>
          </a:p>
          <a:p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012F1E-4544-4355-8FC6-7CCEB44B6354}" type="slidenum">
              <a:rPr lang="fr-BE" smtClean="0"/>
              <a:t>1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8826097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BE" dirty="0">
                <a:solidFill>
                  <a:srgbClr val="191B26"/>
                </a:solidFill>
                <a:latin typeface="Open Sans"/>
              </a:rPr>
              <a:t>Image par </a:t>
            </a:r>
            <a:r>
              <a:rPr lang="fr-BE" u="sng" dirty="0" err="1">
                <a:solidFill>
                  <a:srgbClr val="191B26"/>
                </a:solidFill>
                <a:latin typeface="Open Sans"/>
                <a:hlinkClick r:id="rId3"/>
              </a:rPr>
              <a:t>krustovin</a:t>
            </a:r>
            <a:r>
              <a:rPr lang="fr-BE" u="sng" dirty="0">
                <a:solidFill>
                  <a:srgbClr val="191B26"/>
                </a:solidFill>
                <a:latin typeface="Open Sans"/>
                <a:hlinkClick r:id="rId3"/>
              </a:rPr>
              <a:t> </a:t>
            </a:r>
            <a:r>
              <a:rPr lang="fr-BE" u="sng" dirty="0" err="1">
                <a:solidFill>
                  <a:srgbClr val="191B26"/>
                </a:solidFill>
                <a:latin typeface="Open Sans"/>
                <a:hlinkClick r:id="rId3"/>
              </a:rPr>
              <a:t>august</a:t>
            </a:r>
            <a:r>
              <a:rPr lang="fr-BE" dirty="0">
                <a:solidFill>
                  <a:srgbClr val="191B26"/>
                </a:solidFill>
                <a:latin typeface="Open Sans"/>
              </a:rPr>
              <a:t> de </a:t>
            </a:r>
            <a:r>
              <a:rPr lang="fr-BE" u="sng" dirty="0" err="1">
                <a:solidFill>
                  <a:srgbClr val="191B26"/>
                </a:solidFill>
                <a:latin typeface="Open Sans"/>
                <a:hlinkClick r:id="rId4"/>
              </a:rPr>
              <a:t>Pixabay</a:t>
            </a:r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012F1E-4544-4355-8FC6-7CCEB44B6354}" type="slidenum">
              <a:rPr lang="fr-BE" smtClean="0"/>
              <a:t>14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60323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fr-BE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012F1E-4544-4355-8FC6-7CCEB44B6354}" type="slidenum">
              <a:rPr lang="fr-BE" smtClean="0"/>
              <a:pPr/>
              <a:t>2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2431140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mage par </a:t>
            </a:r>
            <a:r>
              <a:rPr lang="en-US" u="sng" dirty="0">
                <a:hlinkClick r:id="rId3"/>
              </a:rPr>
              <a:t>Prohibition to publish images as your work in photobanks!</a:t>
            </a:r>
            <a:r>
              <a:rPr lang="en-US" dirty="0"/>
              <a:t> de </a:t>
            </a:r>
            <a:r>
              <a:rPr lang="en-US" u="sng" dirty="0" err="1">
                <a:hlinkClick r:id="rId4"/>
              </a:rPr>
              <a:t>Pixabay</a:t>
            </a:r>
            <a:r>
              <a:rPr lang="en-US" dirty="0"/>
              <a:t> </a:t>
            </a:r>
            <a:endParaRPr lang="fr-BE" dirty="0"/>
          </a:p>
          <a:p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012F1E-4544-4355-8FC6-7CCEB44B6354}" type="slidenum">
              <a:rPr lang="fr-BE" smtClean="0"/>
              <a:t>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0113236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dirty="0"/>
              <a:t>Schéma P. Bourguign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012F1E-4544-4355-8FC6-7CCEB44B6354}" type="slidenum">
              <a:rPr lang="fr-BE" smtClean="0"/>
              <a:t>4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5715945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Schéma</a:t>
            </a:r>
            <a:r>
              <a:rPr lang="en-US" dirty="0"/>
              <a:t> : P. Bourguign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uropean Centre for Disease Prevention and Control</a:t>
            </a:r>
          </a:p>
          <a:p>
            <a:endParaRPr lang="fr-BE" dirty="0"/>
          </a:p>
          <a:p>
            <a:r>
              <a:rPr lang="fr-BE" dirty="0"/>
              <a:t>https://www.ecdc.europa.eu/en/covid-19/latest-evidence/clinical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012F1E-4544-4355-8FC6-7CCEB44B6354}" type="slidenum">
              <a:rPr lang="fr-BE" smtClean="0"/>
              <a:t>5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917598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Schéma</a:t>
            </a:r>
            <a:r>
              <a:rPr lang="en-US" dirty="0"/>
              <a:t> : P. Bourguignon</a:t>
            </a:r>
          </a:p>
          <a:p>
            <a:r>
              <a:rPr lang="fr-BE" sz="1100" b="0" i="1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 liste des symptômes mentionnés dans ces schémas est basée sur le rapport de l’OMS, février 2020,</a:t>
            </a:r>
          </a:p>
          <a:p>
            <a:r>
              <a:rPr lang="fr-BE" sz="1100" b="0" i="1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 CDC et l’ECDPC (consultés le 17/09/2020). Cette liste est non exhaustive et peut évoluer en fonction</a:t>
            </a:r>
          </a:p>
          <a:p>
            <a:r>
              <a:rPr lang="fr-BE" sz="1100" b="0" i="1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s nouvelles études publiées.</a:t>
            </a:r>
            <a:endParaRPr lang="en-US" dirty="0"/>
          </a:p>
          <a:p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012F1E-4544-4355-8FC6-7CCEB44B6354}" type="slidenum">
              <a:rPr lang="fr-BE" smtClean="0"/>
              <a:t>6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2413243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dirty="0"/>
              <a:t>Schéma : P. Bourguign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012F1E-4544-4355-8FC6-7CCEB44B6354}" type="slidenum">
              <a:rPr lang="fr-BE" smtClean="0"/>
              <a:t>7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7122660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dirty="0"/>
              <a:t>Schéma : P Bourguign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012F1E-4544-4355-8FC6-7CCEB44B6354}" type="slidenum">
              <a:rPr lang="fr-BE" smtClean="0"/>
              <a:t>8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5629523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BE" dirty="0"/>
              <a:t>billionphotos-98870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012F1E-4544-4355-8FC6-7CCEB44B6354}" type="slidenum">
              <a:rPr lang="fr-BE" smtClean="0"/>
              <a:t>9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862395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4"/>
          <p:cNvGrpSpPr/>
          <p:nvPr/>
        </p:nvGrpSpPr>
        <p:grpSpPr>
          <a:xfrm rot="5400000">
            <a:off x="5558914" y="3293269"/>
            <a:ext cx="6860108" cy="310064"/>
            <a:chOff x="0" y="0"/>
            <a:chExt cx="9144000" cy="6858000"/>
          </a:xfrm>
          <a:gradFill flip="none" rotWithShape="1">
            <a:gsLst>
              <a:gs pos="24000">
                <a:srgbClr val="41A099"/>
              </a:gs>
              <a:gs pos="100000">
                <a:srgbClr val="FFFFFF"/>
              </a:gs>
            </a:gsLst>
            <a:path path="circle">
              <a:fillToRect l="100000" t="100000"/>
            </a:path>
            <a:tileRect r="-100000" b="-100000"/>
          </a:gradFill>
        </p:grpSpPr>
        <p:grpSp>
          <p:nvGrpSpPr>
            <p:cNvPr id="70" name="Group 4"/>
            <p:cNvGrpSpPr/>
            <p:nvPr/>
          </p:nvGrpSpPr>
          <p:grpSpPr>
            <a:xfrm>
              <a:off x="0" y="0"/>
              <a:ext cx="2514600" cy="6858000"/>
              <a:chOff x="0" y="0"/>
              <a:chExt cx="2514600" cy="6858000"/>
            </a:xfrm>
            <a:grpFill/>
          </p:grpSpPr>
          <p:sp>
            <p:nvSpPr>
              <p:cNvPr id="115" name="Rectangle 114"/>
              <p:cNvSpPr/>
              <p:nvPr/>
            </p:nvSpPr>
            <p:spPr>
              <a:xfrm>
                <a:off x="914400" y="0"/>
                <a:ext cx="16002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Rectangle 2"/>
              <p:cNvSpPr/>
              <p:nvPr/>
            </p:nvSpPr>
            <p:spPr>
              <a:xfrm>
                <a:off x="0" y="0"/>
                <a:ext cx="4572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Rectangle 3"/>
              <p:cNvSpPr/>
              <p:nvPr/>
            </p:nvSpPr>
            <p:spPr>
              <a:xfrm>
                <a:off x="228600" y="0"/>
                <a:ext cx="7620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1" name="Group 5"/>
            <p:cNvGrpSpPr/>
            <p:nvPr/>
          </p:nvGrpSpPr>
          <p:grpSpPr>
            <a:xfrm>
              <a:off x="422910" y="0"/>
              <a:ext cx="2514600" cy="6858000"/>
              <a:chOff x="0" y="0"/>
              <a:chExt cx="2514600" cy="6858000"/>
            </a:xfrm>
            <a:grpFill/>
          </p:grpSpPr>
          <p:sp>
            <p:nvSpPr>
              <p:cNvPr id="85" name="Rectangle 84"/>
              <p:cNvSpPr/>
              <p:nvPr/>
            </p:nvSpPr>
            <p:spPr>
              <a:xfrm>
                <a:off x="914400" y="0"/>
                <a:ext cx="16002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Rectangle 85"/>
              <p:cNvSpPr/>
              <p:nvPr/>
            </p:nvSpPr>
            <p:spPr>
              <a:xfrm>
                <a:off x="0" y="0"/>
                <a:ext cx="4572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4" name="Rectangle 113"/>
              <p:cNvSpPr/>
              <p:nvPr/>
            </p:nvSpPr>
            <p:spPr>
              <a:xfrm>
                <a:off x="228600" y="0"/>
                <a:ext cx="7620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9"/>
            <p:cNvGrpSpPr/>
            <p:nvPr/>
          </p:nvGrpSpPr>
          <p:grpSpPr>
            <a:xfrm rot="10800000">
              <a:off x="6629400" y="0"/>
              <a:ext cx="2514600" cy="6858000"/>
              <a:chOff x="0" y="0"/>
              <a:chExt cx="2514600" cy="6858000"/>
            </a:xfrm>
            <a:grpFill/>
          </p:grpSpPr>
          <p:sp>
            <p:nvSpPr>
              <p:cNvPr id="78" name="Rectangle 77"/>
              <p:cNvSpPr/>
              <p:nvPr/>
            </p:nvSpPr>
            <p:spPr>
              <a:xfrm>
                <a:off x="914400" y="0"/>
                <a:ext cx="16002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Rectangle 78"/>
              <p:cNvSpPr/>
              <p:nvPr/>
            </p:nvSpPr>
            <p:spPr>
              <a:xfrm>
                <a:off x="0" y="0"/>
                <a:ext cx="4572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" name="Rectangle 80"/>
              <p:cNvSpPr/>
              <p:nvPr/>
            </p:nvSpPr>
            <p:spPr>
              <a:xfrm>
                <a:off x="228600" y="0"/>
                <a:ext cx="7620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5" name="Rectangle 74"/>
            <p:cNvSpPr/>
            <p:nvPr/>
          </p:nvSpPr>
          <p:spPr>
            <a:xfrm>
              <a:off x="3810000" y="0"/>
              <a:ext cx="28194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/>
            <p:cNvSpPr/>
            <p:nvPr/>
          </p:nvSpPr>
          <p:spPr>
            <a:xfrm>
              <a:off x="2895600" y="0"/>
              <a:ext cx="4572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/>
            <p:cNvSpPr/>
            <p:nvPr/>
          </p:nvSpPr>
          <p:spPr>
            <a:xfrm>
              <a:off x="3124200" y="0"/>
              <a:ext cx="762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7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1679" y="-25675"/>
            <a:ext cx="3282373" cy="6858000"/>
          </a:xfrm>
          <a:prstGeom prst="rect">
            <a:avLst/>
          </a:prstGeom>
          <a:scene3d>
            <a:camera prst="orthographicFront">
              <a:rot lat="10800000" lon="0" rev="5400000"/>
            </a:camera>
            <a:lightRig rig="threePt" dir="t"/>
          </a:scene3d>
        </p:spPr>
      </p:pic>
      <p:sp>
        <p:nvSpPr>
          <p:cNvPr id="46" name="Rectangle 45"/>
          <p:cNvSpPr/>
          <p:nvPr/>
        </p:nvSpPr>
        <p:spPr>
          <a:xfrm>
            <a:off x="4561242" y="-21511"/>
            <a:ext cx="3679116" cy="6271840"/>
          </a:xfrm>
          <a:prstGeom prst="rect">
            <a:avLst/>
          </a:prstGeom>
          <a:solidFill>
            <a:srgbClr val="F5F5F5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/>
          <p:cNvSpPr/>
          <p:nvPr/>
        </p:nvSpPr>
        <p:spPr>
          <a:xfrm>
            <a:off x="4649096" y="-21511"/>
            <a:ext cx="3505200" cy="2312889"/>
          </a:xfrm>
          <a:prstGeom prst="rect">
            <a:avLst/>
          </a:prstGeom>
          <a:solidFill>
            <a:srgbClr val="41A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33365" y="2708476"/>
            <a:ext cx="3313355" cy="170216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accent6"/>
                </a:solidFill>
              </a:defRPr>
            </a:lvl1pPr>
          </a:lstStyle>
          <a:p>
            <a:r>
              <a:rPr lang="nl-BE" dirty="0" err="1"/>
              <a:t>Cliquez</a:t>
            </a:r>
            <a:r>
              <a:rPr lang="nl-BE" dirty="0"/>
              <a:t> et </a:t>
            </a:r>
            <a:r>
              <a:rPr lang="nl-BE" dirty="0" err="1"/>
              <a:t>modifiez</a:t>
            </a:r>
            <a:r>
              <a:rPr lang="nl-BE" dirty="0"/>
              <a:t> </a:t>
            </a:r>
            <a:r>
              <a:rPr lang="nl-BE" dirty="0" err="1"/>
              <a:t>le</a:t>
            </a:r>
            <a:r>
              <a:rPr lang="nl-BE" dirty="0"/>
              <a:t> </a:t>
            </a:r>
            <a:r>
              <a:rPr lang="nl-BE" dirty="0" err="1"/>
              <a:t>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33365" y="4421080"/>
            <a:ext cx="3309803" cy="126062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 err="1"/>
              <a:t>Cliquez</a:t>
            </a:r>
            <a:r>
              <a:rPr lang="nl-BE" dirty="0"/>
              <a:t> pour </a:t>
            </a:r>
            <a:r>
              <a:rPr lang="nl-BE" dirty="0" err="1"/>
              <a:t>modifier</a:t>
            </a:r>
            <a:r>
              <a:rPr lang="nl-BE" dirty="0"/>
              <a:t> </a:t>
            </a:r>
            <a:r>
              <a:rPr lang="nl-BE" dirty="0" err="1"/>
              <a:t>le</a:t>
            </a:r>
            <a:r>
              <a:rPr lang="nl-BE" dirty="0"/>
              <a:t> </a:t>
            </a:r>
            <a:r>
              <a:rPr lang="nl-BE" dirty="0" err="1"/>
              <a:t>style</a:t>
            </a:r>
            <a:r>
              <a:rPr lang="nl-BE" dirty="0"/>
              <a:t> des sous-</a:t>
            </a:r>
            <a:r>
              <a:rPr lang="nl-BE" dirty="0" err="1"/>
              <a:t>titres</a:t>
            </a:r>
            <a:r>
              <a:rPr lang="nl-BE" dirty="0"/>
              <a:t> du </a:t>
            </a:r>
            <a:r>
              <a:rPr lang="nl-BE" dirty="0" err="1"/>
              <a:t>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38744" y="1516828"/>
            <a:ext cx="2133600" cy="750981"/>
          </a:xfrm>
          <a:prstGeom prst="rect">
            <a:avLst/>
          </a:prstGeom>
        </p:spPr>
        <p:txBody>
          <a:bodyPr anchor="b"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fld id="{0A98AF03-7270-45C2-A683-C5E353EF01A5}" type="datetime4">
              <a:rPr lang="en-US" smtClean="0"/>
              <a:pPr/>
              <a:t>November 7, 2020</a:t>
            </a:fld>
            <a:endParaRPr lang="en-US" dirty="0"/>
          </a:p>
        </p:txBody>
      </p:sp>
      <p:sp>
        <p:nvSpPr>
          <p:cNvPr id="50" name="Rectangle 49"/>
          <p:cNvSpPr/>
          <p:nvPr/>
        </p:nvSpPr>
        <p:spPr>
          <a:xfrm>
            <a:off x="4650889" y="6088284"/>
            <a:ext cx="3505200" cy="817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Rectangle 88"/>
          <p:cNvSpPr/>
          <p:nvPr/>
        </p:nvSpPr>
        <p:spPr>
          <a:xfrm>
            <a:off x="4650889" y="6088284"/>
            <a:ext cx="3505200" cy="81740"/>
          </a:xfrm>
          <a:prstGeom prst="rect">
            <a:avLst/>
          </a:prstGeom>
          <a:solidFill>
            <a:srgbClr val="41A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34760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 avec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874494E-225D-4C26-B797-C782ABC62909}"/>
              </a:ext>
            </a:extLst>
          </p:cNvPr>
          <p:cNvSpPr txBox="1"/>
          <p:nvPr userDrawn="1"/>
        </p:nvSpPr>
        <p:spPr>
          <a:xfrm>
            <a:off x="8479767" y="6568676"/>
            <a:ext cx="6642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200" smtClean="0">
                <a:solidFill>
                  <a:srgbClr val="246372"/>
                </a:solidFill>
              </a:rPr>
              <a:pPr algn="r"/>
              <a:t>‹#›</a:t>
            </a:fld>
            <a:endParaRPr lang="fr-BE" sz="1200" dirty="0">
              <a:solidFill>
                <a:srgbClr val="246372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7F4572A-4E60-47AC-BE88-DD289F2B66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6375708"/>
            <a:ext cx="4408098" cy="51457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7AA5022-41F9-4375-9353-5B62EF2A2963}"/>
              </a:ext>
            </a:extLst>
          </p:cNvPr>
          <p:cNvSpPr/>
          <p:nvPr userDrawn="1"/>
        </p:nvSpPr>
        <p:spPr>
          <a:xfrm>
            <a:off x="0" y="6220582"/>
            <a:ext cx="4157932" cy="63741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B78ED3D-AABE-4D2F-B625-D2CCC3A6EC26}"/>
              </a:ext>
            </a:extLst>
          </p:cNvPr>
          <p:cNvGrpSpPr/>
          <p:nvPr userDrawn="1"/>
        </p:nvGrpSpPr>
        <p:grpSpPr>
          <a:xfrm>
            <a:off x="220061" y="6314386"/>
            <a:ext cx="1082527" cy="463065"/>
            <a:chOff x="315856" y="5556741"/>
            <a:chExt cx="865210" cy="463065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E5C8FEE-93B5-41F7-9429-61A56B263B5D}"/>
                </a:ext>
              </a:extLst>
            </p:cNvPr>
            <p:cNvSpPr/>
            <p:nvPr/>
          </p:nvSpPr>
          <p:spPr>
            <a:xfrm>
              <a:off x="315856" y="5556741"/>
              <a:ext cx="865210" cy="45713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026A715-1105-45A3-BA24-5E6BBE7FAF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890" y="5577092"/>
              <a:ext cx="825058" cy="4427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807591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874494E-225D-4C26-B797-C782ABC62909}"/>
              </a:ext>
            </a:extLst>
          </p:cNvPr>
          <p:cNvSpPr txBox="1"/>
          <p:nvPr userDrawn="1"/>
        </p:nvSpPr>
        <p:spPr>
          <a:xfrm>
            <a:off x="8479767" y="6568676"/>
            <a:ext cx="6642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200" smtClean="0">
                <a:solidFill>
                  <a:srgbClr val="246372"/>
                </a:solidFill>
              </a:rPr>
              <a:pPr algn="r"/>
              <a:t>‹#›</a:t>
            </a:fld>
            <a:endParaRPr lang="fr-BE" sz="1200" dirty="0">
              <a:solidFill>
                <a:srgbClr val="2463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6782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che UDN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1EBFA2-290E-406E-B7F5-774265A490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757" y="183662"/>
            <a:ext cx="8782948" cy="60040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fr-BE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D578903-C315-4413-B8D5-0185E3BCBEF0}"/>
              </a:ext>
            </a:extLst>
          </p:cNvPr>
          <p:cNvSpPr/>
          <p:nvPr userDrawn="1"/>
        </p:nvSpPr>
        <p:spPr>
          <a:xfrm>
            <a:off x="43542" y="34831"/>
            <a:ext cx="9072000" cy="6804000"/>
          </a:xfrm>
          <a:prstGeom prst="rect">
            <a:avLst/>
          </a:prstGeom>
          <a:noFill/>
          <a:ln w="15875" cap="flat" cmpd="sng" algn="ctr">
            <a:solidFill>
              <a:srgbClr val="41A099"/>
            </a:solidFill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0" cap="none" spc="0" normalizeH="0" baseline="0" noProof="0" dirty="0">
              <a:ln>
                <a:noFill/>
              </a:ln>
              <a:solidFill>
                <a:srgbClr val="84FFA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5329CA-C513-4066-81D9-C659DFF40A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5463" y="5852160"/>
            <a:ext cx="1158242" cy="850373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89804E1-FF0E-45E1-B03B-92353B6EE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0757" y="932897"/>
            <a:ext cx="8782948" cy="47829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nl-BE" dirty="0"/>
              <a:t>Cliquez pour modifier les styles du texte du masque</a:t>
            </a:r>
          </a:p>
          <a:p>
            <a:pPr lvl="1"/>
            <a:r>
              <a:rPr lang="nl-BE" dirty="0"/>
              <a:t>Deuxième niveau</a:t>
            </a:r>
          </a:p>
          <a:p>
            <a:pPr lvl="2"/>
            <a:r>
              <a:rPr lang="nl-BE" dirty="0"/>
              <a:t>Troisième niveau</a:t>
            </a:r>
          </a:p>
          <a:p>
            <a:pPr lvl="3"/>
            <a:r>
              <a:rPr lang="nl-BE" dirty="0"/>
              <a:t>Quatrième niveau</a:t>
            </a:r>
          </a:p>
          <a:p>
            <a:pPr lvl="4"/>
            <a:r>
              <a:rPr lang="nl-BE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61125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 - logo p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1A9F2FCF-7E2D-45ED-82A9-22751341EA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472" y="270748"/>
            <a:ext cx="8360086" cy="60040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nl-BE" dirty="0"/>
              <a:t>Cliquez et modifiez le titre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5FD691-54E5-4252-A5E3-489B68D18C91}"/>
              </a:ext>
            </a:extLst>
          </p:cNvPr>
          <p:cNvSpPr txBox="1"/>
          <p:nvPr userDrawn="1"/>
        </p:nvSpPr>
        <p:spPr>
          <a:xfrm>
            <a:off x="8479767" y="6568676"/>
            <a:ext cx="6642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200" smtClean="0">
                <a:solidFill>
                  <a:schemeClr val="tx1"/>
                </a:solidFill>
              </a:rPr>
              <a:pPr algn="r"/>
              <a:t>‹#›</a:t>
            </a:fld>
            <a:endParaRPr lang="fr-BE" sz="1200" dirty="0">
              <a:solidFill>
                <a:schemeClr val="tx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06C4395-792C-4ADA-8648-25C1F91B0A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797" y="6159261"/>
            <a:ext cx="1354182" cy="677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8929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6D82063A-E9A7-4458-AAD2-8A2F712347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64440"/>
            <a:ext cx="9144000" cy="4650509"/>
          </a:xfrm>
          <a:prstGeom prst="rect">
            <a:avLst/>
          </a:prstGeom>
        </p:spPr>
      </p:pic>
      <p:pic>
        <p:nvPicPr>
          <p:cNvPr id="27" name="Capture d’écran 2017-04-25 à 21.19.02.png">
            <a:extLst>
              <a:ext uri="{FF2B5EF4-FFF2-40B4-BE49-F238E27FC236}">
                <a16:creationId xmlns:a16="http://schemas.microsoft.com/office/drawing/2014/main" id="{8F6551F2-ACCA-4BFE-A69F-7521563DF01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28508" y="162670"/>
            <a:ext cx="2641600" cy="1293127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3D2F8CFC-9F75-4A05-AE51-10B138F87ED0}"/>
              </a:ext>
            </a:extLst>
          </p:cNvPr>
          <p:cNvSpPr/>
          <p:nvPr userDrawn="1"/>
        </p:nvSpPr>
        <p:spPr>
          <a:xfrm>
            <a:off x="18904" y="1764439"/>
            <a:ext cx="9144000" cy="5005815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3652" y="1933852"/>
            <a:ext cx="7190293" cy="17021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5400" b="1" i="1">
                <a:solidFill>
                  <a:schemeClr val="accent6"/>
                </a:solidFill>
              </a:defRPr>
            </a:lvl1pPr>
          </a:lstStyle>
          <a:p>
            <a:r>
              <a:rPr lang="nl-BE" dirty="0" err="1"/>
              <a:t>Cliquez</a:t>
            </a:r>
            <a:r>
              <a:rPr lang="nl-BE" dirty="0"/>
              <a:t> et </a:t>
            </a:r>
            <a:r>
              <a:rPr lang="nl-BE" dirty="0" err="1"/>
              <a:t>modifiez</a:t>
            </a:r>
            <a:r>
              <a:rPr lang="nl-BE" dirty="0"/>
              <a:t> </a:t>
            </a:r>
            <a:r>
              <a:rPr lang="nl-BE" dirty="0" err="1"/>
              <a:t>le</a:t>
            </a:r>
            <a:r>
              <a:rPr lang="nl-BE" dirty="0"/>
              <a:t> </a:t>
            </a:r>
            <a:r>
              <a:rPr lang="nl-BE" dirty="0" err="1"/>
              <a:t>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73857" y="4152970"/>
            <a:ext cx="4580625" cy="126062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24637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BE" dirty="0" err="1"/>
              <a:t>Cliquez</a:t>
            </a:r>
            <a:r>
              <a:rPr lang="nl-BE" dirty="0"/>
              <a:t> pour </a:t>
            </a:r>
            <a:r>
              <a:rPr lang="nl-BE" dirty="0" err="1"/>
              <a:t>modifier</a:t>
            </a:r>
            <a:r>
              <a:rPr lang="nl-BE" dirty="0"/>
              <a:t> </a:t>
            </a:r>
            <a:r>
              <a:rPr lang="nl-BE" dirty="0" err="1"/>
              <a:t>le</a:t>
            </a:r>
            <a:r>
              <a:rPr lang="nl-BE" dirty="0"/>
              <a:t> </a:t>
            </a:r>
            <a:r>
              <a:rPr lang="nl-BE" dirty="0" err="1"/>
              <a:t>style</a:t>
            </a:r>
            <a:r>
              <a:rPr lang="nl-BE" dirty="0"/>
              <a:t> des sous-</a:t>
            </a:r>
            <a:r>
              <a:rPr lang="nl-BE" dirty="0" err="1"/>
              <a:t>titres</a:t>
            </a:r>
            <a:r>
              <a:rPr lang="nl-BE" dirty="0"/>
              <a:t> du </a:t>
            </a:r>
            <a:r>
              <a:rPr lang="nl-BE" dirty="0" err="1"/>
              <a:t>masq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45097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10586BE-F2E0-44BA-9ACD-7F911751DB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472" y="270748"/>
            <a:ext cx="8360086" cy="60040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nl-BE" dirty="0"/>
              <a:t>Cliquez et modifiez le titre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2A7BD4-1749-4111-857C-DB1E80BD79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8472" y="1045249"/>
            <a:ext cx="8360086" cy="51140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nl-BE" dirty="0"/>
              <a:t>Cliquez pour modifier les styles du texte du masque</a:t>
            </a:r>
          </a:p>
          <a:p>
            <a:pPr lvl="1"/>
            <a:r>
              <a:rPr lang="nl-BE" dirty="0"/>
              <a:t>Deuxième niveau</a:t>
            </a:r>
          </a:p>
          <a:p>
            <a:pPr lvl="2"/>
            <a:r>
              <a:rPr lang="nl-BE" dirty="0"/>
              <a:t>Troisième niveau</a:t>
            </a:r>
          </a:p>
          <a:p>
            <a:pPr lvl="3"/>
            <a:r>
              <a:rPr lang="nl-BE" dirty="0"/>
              <a:t>Quatrième niveau</a:t>
            </a:r>
          </a:p>
          <a:p>
            <a:pPr lvl="4"/>
            <a:r>
              <a:rPr lang="nl-BE" dirty="0"/>
              <a:t>Cinquième niveau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986117-C511-4155-9C8D-32130CEB3B91}"/>
              </a:ext>
            </a:extLst>
          </p:cNvPr>
          <p:cNvSpPr txBox="1"/>
          <p:nvPr userDrawn="1"/>
        </p:nvSpPr>
        <p:spPr>
          <a:xfrm>
            <a:off x="8479767" y="6568676"/>
            <a:ext cx="6642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200" smtClean="0">
                <a:solidFill>
                  <a:srgbClr val="246372"/>
                </a:solidFill>
              </a:rPr>
              <a:pPr algn="r"/>
              <a:t>‹#›</a:t>
            </a:fld>
            <a:endParaRPr lang="fr-BE" sz="1200" dirty="0">
              <a:solidFill>
                <a:srgbClr val="246372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01028CB-D2F1-4807-B8C2-CE8C31C307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6375708"/>
            <a:ext cx="4408098" cy="51457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4338075-B557-4697-A1D4-96CB3367D5BD}"/>
              </a:ext>
            </a:extLst>
          </p:cNvPr>
          <p:cNvSpPr/>
          <p:nvPr userDrawn="1"/>
        </p:nvSpPr>
        <p:spPr>
          <a:xfrm>
            <a:off x="0" y="6220582"/>
            <a:ext cx="4157932" cy="63741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3E41270-B6E0-4C41-9148-1A967E28837F}"/>
              </a:ext>
            </a:extLst>
          </p:cNvPr>
          <p:cNvGrpSpPr/>
          <p:nvPr userDrawn="1"/>
        </p:nvGrpSpPr>
        <p:grpSpPr>
          <a:xfrm>
            <a:off x="220061" y="6314386"/>
            <a:ext cx="1082527" cy="463065"/>
            <a:chOff x="315856" y="5556741"/>
            <a:chExt cx="865210" cy="463065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D58C03D-F186-4E6A-905A-9AF01F57C079}"/>
                </a:ext>
              </a:extLst>
            </p:cNvPr>
            <p:cNvSpPr/>
            <p:nvPr/>
          </p:nvSpPr>
          <p:spPr>
            <a:xfrm>
              <a:off x="315856" y="5556741"/>
              <a:ext cx="865210" cy="45713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E96D640B-F464-40C1-A909-304262E2D0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890" y="5577092"/>
              <a:ext cx="825058" cy="4427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17385725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8645" y="2900829"/>
            <a:ext cx="6637468" cy="1362075"/>
          </a:xfrm>
          <a:prstGeom prst="rect">
            <a:avLst/>
          </a:prstGeom>
        </p:spPr>
        <p:txBody>
          <a:bodyPr anchor="b"/>
          <a:lstStyle>
            <a:lvl1pPr algn="l">
              <a:defRPr sz="4000" b="0" cap="none" baseline="0">
                <a:solidFill>
                  <a:srgbClr val="CC5439"/>
                </a:solidFill>
              </a:defRPr>
            </a:lvl1pPr>
          </a:lstStyle>
          <a:p>
            <a:r>
              <a:rPr lang="nl-BE" dirty="0" err="1"/>
              <a:t>Cliquez</a:t>
            </a:r>
            <a:r>
              <a:rPr lang="nl-BE" dirty="0"/>
              <a:t> et </a:t>
            </a:r>
            <a:r>
              <a:rPr lang="nl-BE" dirty="0" err="1"/>
              <a:t>modifiez</a:t>
            </a:r>
            <a:r>
              <a:rPr lang="nl-BE" dirty="0"/>
              <a:t> </a:t>
            </a:r>
            <a:r>
              <a:rPr lang="nl-BE" dirty="0" err="1"/>
              <a:t>le</a:t>
            </a:r>
            <a:r>
              <a:rPr lang="nl-BE" dirty="0"/>
              <a:t> </a:t>
            </a:r>
            <a:r>
              <a:rPr lang="nl-BE" dirty="0" err="1"/>
              <a:t>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8645" y="4267200"/>
            <a:ext cx="6637467" cy="1520413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BE" dirty="0" err="1"/>
              <a:t>Cliquez</a:t>
            </a:r>
            <a:r>
              <a:rPr lang="nl-BE" dirty="0"/>
              <a:t> pour </a:t>
            </a:r>
            <a:r>
              <a:rPr lang="nl-BE" dirty="0" err="1"/>
              <a:t>modifier</a:t>
            </a:r>
            <a:r>
              <a:rPr lang="nl-BE" dirty="0"/>
              <a:t> les </a:t>
            </a:r>
            <a:r>
              <a:rPr lang="nl-BE" dirty="0" err="1"/>
              <a:t>styles</a:t>
            </a:r>
            <a:r>
              <a:rPr lang="nl-BE" dirty="0"/>
              <a:t> du </a:t>
            </a:r>
            <a:r>
              <a:rPr lang="nl-BE" dirty="0" err="1"/>
              <a:t>texte</a:t>
            </a:r>
            <a:r>
              <a:rPr lang="nl-BE" dirty="0"/>
              <a:t> du </a:t>
            </a:r>
            <a:r>
              <a:rPr lang="nl-BE" dirty="0" err="1"/>
              <a:t>masque</a:t>
            </a:r>
            <a:endParaRPr lang="nl-B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8B20AA5-6F63-4366-9E9F-71BB4AA46A80}"/>
              </a:ext>
            </a:extLst>
          </p:cNvPr>
          <p:cNvSpPr txBox="1"/>
          <p:nvPr userDrawn="1"/>
        </p:nvSpPr>
        <p:spPr>
          <a:xfrm>
            <a:off x="8479767" y="6568676"/>
            <a:ext cx="6642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200" smtClean="0">
                <a:solidFill>
                  <a:srgbClr val="246372"/>
                </a:solidFill>
              </a:rPr>
              <a:pPr algn="r"/>
              <a:t>‹#›</a:t>
            </a:fld>
            <a:endParaRPr lang="fr-BE" sz="1200" dirty="0">
              <a:solidFill>
                <a:srgbClr val="246372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68A0FAE-7448-4F8B-8708-B9673343B0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6375708"/>
            <a:ext cx="4408098" cy="51457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7E7861F-0C20-4638-99E6-8B851A0153E5}"/>
              </a:ext>
            </a:extLst>
          </p:cNvPr>
          <p:cNvSpPr/>
          <p:nvPr userDrawn="1"/>
        </p:nvSpPr>
        <p:spPr>
          <a:xfrm>
            <a:off x="0" y="6220582"/>
            <a:ext cx="4157932" cy="63741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18CD487-D0DE-428B-B3E7-ECD0D5DEE959}"/>
              </a:ext>
            </a:extLst>
          </p:cNvPr>
          <p:cNvGrpSpPr/>
          <p:nvPr userDrawn="1"/>
        </p:nvGrpSpPr>
        <p:grpSpPr>
          <a:xfrm>
            <a:off x="220061" y="6314386"/>
            <a:ext cx="1082527" cy="463065"/>
            <a:chOff x="315856" y="5556741"/>
            <a:chExt cx="865210" cy="463065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3FDB9E4-E6A8-42E8-A471-9C0FC531C994}"/>
                </a:ext>
              </a:extLst>
            </p:cNvPr>
            <p:cNvSpPr/>
            <p:nvPr/>
          </p:nvSpPr>
          <p:spPr>
            <a:xfrm>
              <a:off x="315856" y="5556741"/>
              <a:ext cx="865210" cy="45713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AC19A750-AF05-4512-95E2-DE2312EACE9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890" y="5577092"/>
              <a:ext cx="825058" cy="4427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797582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8645" y="2900829"/>
            <a:ext cx="6637468" cy="679133"/>
          </a:xfrm>
          <a:prstGeom prst="rect">
            <a:avLst/>
          </a:prstGeom>
        </p:spPr>
        <p:txBody>
          <a:bodyPr anchor="b"/>
          <a:lstStyle>
            <a:lvl1pPr algn="l">
              <a:defRPr sz="4000" b="0" cap="none" baseline="0">
                <a:solidFill>
                  <a:srgbClr val="CC5439"/>
                </a:solidFill>
              </a:defRPr>
            </a:lvl1pPr>
          </a:lstStyle>
          <a:p>
            <a:r>
              <a:rPr lang="nl-BE"/>
              <a:t>Cliquez et modifiez le titre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508E3F5-16A8-4501-A925-3794667EF0AB}"/>
              </a:ext>
            </a:extLst>
          </p:cNvPr>
          <p:cNvSpPr txBox="1"/>
          <p:nvPr userDrawn="1"/>
        </p:nvSpPr>
        <p:spPr>
          <a:xfrm>
            <a:off x="8479767" y="6568676"/>
            <a:ext cx="6642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200" smtClean="0">
                <a:solidFill>
                  <a:srgbClr val="246372"/>
                </a:solidFill>
              </a:rPr>
              <a:pPr algn="r"/>
              <a:t>‹#›</a:t>
            </a:fld>
            <a:endParaRPr lang="fr-BE" sz="1200" dirty="0">
              <a:solidFill>
                <a:srgbClr val="246372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C25D4A9-6803-49A1-9A21-DCFAF9E1C8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6375708"/>
            <a:ext cx="4408098" cy="51457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CB92764-5F72-426C-AE77-3101D91D7098}"/>
              </a:ext>
            </a:extLst>
          </p:cNvPr>
          <p:cNvSpPr/>
          <p:nvPr userDrawn="1"/>
        </p:nvSpPr>
        <p:spPr>
          <a:xfrm>
            <a:off x="0" y="6220582"/>
            <a:ext cx="4157932" cy="63741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73905B5-0E4F-4132-AB9C-CF0E42597D16}"/>
              </a:ext>
            </a:extLst>
          </p:cNvPr>
          <p:cNvGrpSpPr/>
          <p:nvPr userDrawn="1"/>
        </p:nvGrpSpPr>
        <p:grpSpPr>
          <a:xfrm>
            <a:off x="220061" y="6314386"/>
            <a:ext cx="1082527" cy="463065"/>
            <a:chOff x="315856" y="5556741"/>
            <a:chExt cx="865210" cy="463065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3B115A9-E1FA-479C-9F60-49B3B8466E79}"/>
                </a:ext>
              </a:extLst>
            </p:cNvPr>
            <p:cNvSpPr/>
            <p:nvPr/>
          </p:nvSpPr>
          <p:spPr>
            <a:xfrm>
              <a:off x="315856" y="5556741"/>
              <a:ext cx="865210" cy="45713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D35EA18-A9E6-43B9-9A3D-B578D6996C6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890" y="5577092"/>
              <a:ext cx="825058" cy="4427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585774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CEA3F45-D853-46F4-BDAC-50E00DE6404F}"/>
              </a:ext>
            </a:extLst>
          </p:cNvPr>
          <p:cNvGrpSpPr/>
          <p:nvPr userDrawn="1"/>
        </p:nvGrpSpPr>
        <p:grpSpPr>
          <a:xfrm>
            <a:off x="-450282" y="-21510"/>
            <a:ext cx="10023048" cy="6858000"/>
            <a:chOff x="-382404" y="0"/>
            <a:chExt cx="9932332" cy="6858000"/>
          </a:xfrm>
          <a:gradFill flip="none" rotWithShape="1">
            <a:gsLst>
              <a:gs pos="24000">
                <a:srgbClr val="41A099"/>
              </a:gs>
              <a:gs pos="100000">
                <a:srgbClr val="FFFFFF"/>
              </a:gs>
            </a:gsLst>
            <a:path path="circle">
              <a:fillToRect l="100000" t="100000"/>
            </a:path>
            <a:tileRect r="-100000" b="-100000"/>
          </a:gradFill>
        </p:grpSpPr>
        <p:grpSp>
          <p:nvGrpSpPr>
            <p:cNvPr id="6" name="Group 44">
              <a:extLst>
                <a:ext uri="{FF2B5EF4-FFF2-40B4-BE49-F238E27FC236}">
                  <a16:creationId xmlns:a16="http://schemas.microsoft.com/office/drawing/2014/main" id="{D71A85E1-49E7-4B3E-8780-31F6340025CD}"/>
                </a:ext>
              </a:extLst>
            </p:cNvPr>
            <p:cNvGrpSpPr/>
            <p:nvPr/>
          </p:nvGrpSpPr>
          <p:grpSpPr>
            <a:xfrm>
              <a:off x="0" y="0"/>
              <a:ext cx="9144000" cy="6858000"/>
              <a:chOff x="0" y="0"/>
              <a:chExt cx="9144000" cy="6858000"/>
            </a:xfrm>
            <a:grpFill/>
          </p:grpSpPr>
          <p:grpSp>
            <p:nvGrpSpPr>
              <p:cNvPr id="29" name="Group 4">
                <a:extLst>
                  <a:ext uri="{FF2B5EF4-FFF2-40B4-BE49-F238E27FC236}">
                    <a16:creationId xmlns:a16="http://schemas.microsoft.com/office/drawing/2014/main" id="{3D634EFF-BDF7-4A83-AE5D-8B93541B8368}"/>
                  </a:ext>
                </a:extLst>
              </p:cNvPr>
              <p:cNvGrpSpPr/>
              <p:nvPr/>
            </p:nvGrpSpPr>
            <p:grpSpPr>
              <a:xfrm>
                <a:off x="0" y="0"/>
                <a:ext cx="2514600" cy="6858000"/>
                <a:chOff x="0" y="0"/>
                <a:chExt cx="2514600" cy="6858000"/>
              </a:xfrm>
              <a:grpFill/>
            </p:grpSpPr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43E591D3-5E47-422D-8642-C7269AE46165}"/>
                    </a:ext>
                  </a:extLst>
                </p:cNvPr>
                <p:cNvSpPr/>
                <p:nvPr/>
              </p:nvSpPr>
              <p:spPr>
                <a:xfrm>
                  <a:off x="914400" y="0"/>
                  <a:ext cx="16002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2" name="Rectangle 2">
                  <a:extLst>
                    <a:ext uri="{FF2B5EF4-FFF2-40B4-BE49-F238E27FC236}">
                      <a16:creationId xmlns:a16="http://schemas.microsoft.com/office/drawing/2014/main" id="{891639CE-77DE-46D4-8D52-4D5B9EE1C476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4572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3" name="Rectangle 3">
                  <a:extLst>
                    <a:ext uri="{FF2B5EF4-FFF2-40B4-BE49-F238E27FC236}">
                      <a16:creationId xmlns:a16="http://schemas.microsoft.com/office/drawing/2014/main" id="{1F81FD15-D997-4EF2-A8D5-A8495E63BD97}"/>
                    </a:ext>
                  </a:extLst>
                </p:cNvPr>
                <p:cNvSpPr/>
                <p:nvPr/>
              </p:nvSpPr>
              <p:spPr>
                <a:xfrm>
                  <a:off x="228600" y="0"/>
                  <a:ext cx="7620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0" name="Group 5">
                <a:extLst>
                  <a:ext uri="{FF2B5EF4-FFF2-40B4-BE49-F238E27FC236}">
                    <a16:creationId xmlns:a16="http://schemas.microsoft.com/office/drawing/2014/main" id="{A1F0EC64-64B0-4F96-98EB-530C8F7DED1E}"/>
                  </a:ext>
                </a:extLst>
              </p:cNvPr>
              <p:cNvGrpSpPr/>
              <p:nvPr/>
            </p:nvGrpSpPr>
            <p:grpSpPr>
              <a:xfrm>
                <a:off x="422910" y="0"/>
                <a:ext cx="2514600" cy="6858000"/>
                <a:chOff x="0" y="0"/>
                <a:chExt cx="2514600" cy="6858000"/>
              </a:xfrm>
              <a:grpFill/>
            </p:grpSpPr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06969776-24A4-434C-A8E3-D0CEE784C2CC}"/>
                    </a:ext>
                  </a:extLst>
                </p:cNvPr>
                <p:cNvSpPr/>
                <p:nvPr/>
              </p:nvSpPr>
              <p:spPr>
                <a:xfrm>
                  <a:off x="914400" y="0"/>
                  <a:ext cx="16002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22717350-BA8E-4051-B94D-AD04233A1C4F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4572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867C1061-954C-4158-AAE8-69D7558697E4}"/>
                    </a:ext>
                  </a:extLst>
                </p:cNvPr>
                <p:cNvSpPr/>
                <p:nvPr/>
              </p:nvSpPr>
              <p:spPr>
                <a:xfrm>
                  <a:off x="228600" y="0"/>
                  <a:ext cx="7620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1" name="Group 9">
                <a:extLst>
                  <a:ext uri="{FF2B5EF4-FFF2-40B4-BE49-F238E27FC236}">
                    <a16:creationId xmlns:a16="http://schemas.microsoft.com/office/drawing/2014/main" id="{88F4EF20-0ABC-42F1-96EF-9E859AA31754}"/>
                  </a:ext>
                </a:extLst>
              </p:cNvPr>
              <p:cNvGrpSpPr/>
              <p:nvPr/>
            </p:nvGrpSpPr>
            <p:grpSpPr>
              <a:xfrm rot="10800000">
                <a:off x="6629400" y="0"/>
                <a:ext cx="2514600" cy="6858000"/>
                <a:chOff x="0" y="0"/>
                <a:chExt cx="2514600" cy="6858000"/>
              </a:xfrm>
              <a:grpFill/>
            </p:grpSpPr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92E3515B-58A8-40AA-89ED-AE7C14A1532B}"/>
                    </a:ext>
                  </a:extLst>
                </p:cNvPr>
                <p:cNvSpPr/>
                <p:nvPr/>
              </p:nvSpPr>
              <p:spPr>
                <a:xfrm>
                  <a:off x="914400" y="0"/>
                  <a:ext cx="16002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4B2DADD8-126B-4C53-A0D5-4C79E39231D4}"/>
                    </a:ext>
                  </a:extLst>
                </p:cNvPr>
                <p:cNvSpPr/>
                <p:nvPr/>
              </p:nvSpPr>
              <p:spPr>
                <a:xfrm>
                  <a:off x="0" y="0"/>
                  <a:ext cx="4572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A266118C-A773-4134-B93B-E1908D7EBD52}"/>
                    </a:ext>
                  </a:extLst>
                </p:cNvPr>
                <p:cNvSpPr/>
                <p:nvPr/>
              </p:nvSpPr>
              <p:spPr>
                <a:xfrm>
                  <a:off x="228600" y="0"/>
                  <a:ext cx="762000" cy="685800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C6009FDC-F81C-4BFD-A2E6-230E272EEC29}"/>
                  </a:ext>
                </a:extLst>
              </p:cNvPr>
              <p:cNvSpPr/>
              <p:nvPr/>
            </p:nvSpPr>
            <p:spPr>
              <a:xfrm>
                <a:off x="3810000" y="0"/>
                <a:ext cx="28194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1624E1AA-B664-49DB-98AB-489E4D962DCD}"/>
                  </a:ext>
                </a:extLst>
              </p:cNvPr>
              <p:cNvSpPr/>
              <p:nvPr/>
            </p:nvSpPr>
            <p:spPr>
              <a:xfrm>
                <a:off x="2895600" y="0"/>
                <a:ext cx="4572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8BB916EC-DE87-4AEF-84FD-D28397E97029}"/>
                  </a:ext>
                </a:extLst>
              </p:cNvPr>
              <p:cNvSpPr/>
              <p:nvPr/>
            </p:nvSpPr>
            <p:spPr>
              <a:xfrm>
                <a:off x="3124200" y="0"/>
                <a:ext cx="762000" cy="6858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" name="Freeform 43">
              <a:extLst>
                <a:ext uri="{FF2B5EF4-FFF2-40B4-BE49-F238E27FC236}">
                  <a16:creationId xmlns:a16="http://schemas.microsoft.com/office/drawing/2014/main" id="{3AD708C6-0D4E-4D34-B127-ADF62536E557}"/>
                </a:ext>
              </a:extLst>
            </p:cNvPr>
            <p:cNvSpPr/>
            <p:nvPr/>
          </p:nvSpPr>
          <p:spPr>
            <a:xfrm>
              <a:off x="-11875" y="5035138"/>
              <a:ext cx="9144000" cy="1175655"/>
            </a:xfrm>
            <a:custGeom>
              <a:avLst/>
              <a:gdLst>
                <a:gd name="connsiteX0" fmla="*/ 0 w 9144000"/>
                <a:gd name="connsiteY0" fmla="*/ 1116280 h 1175656"/>
                <a:gd name="connsiteX1" fmla="*/ 1674420 w 9144000"/>
                <a:gd name="connsiteY1" fmla="*/ 1163781 h 1175656"/>
                <a:gd name="connsiteX2" fmla="*/ 4120737 w 9144000"/>
                <a:gd name="connsiteY2" fmla="*/ 1045028 h 1175656"/>
                <a:gd name="connsiteX3" fmla="*/ 7172696 w 9144000"/>
                <a:gd name="connsiteY3" fmla="*/ 605641 h 1175656"/>
                <a:gd name="connsiteX4" fmla="*/ 9144000 w 9144000"/>
                <a:gd name="connsiteY4" fmla="*/ 0 h 1175656"/>
                <a:gd name="connsiteX0" fmla="*/ 0 w 9144000"/>
                <a:gd name="connsiteY0" fmla="*/ 1270659 h 1330035"/>
                <a:gd name="connsiteX1" fmla="*/ 1674420 w 9144000"/>
                <a:gd name="connsiteY1" fmla="*/ 1318160 h 1330035"/>
                <a:gd name="connsiteX2" fmla="*/ 4120737 w 9144000"/>
                <a:gd name="connsiteY2" fmla="*/ 1199407 h 1330035"/>
                <a:gd name="connsiteX3" fmla="*/ 7172696 w 9144000"/>
                <a:gd name="connsiteY3" fmla="*/ 760020 h 1330035"/>
                <a:gd name="connsiteX4" fmla="*/ 9144000 w 9144000"/>
                <a:gd name="connsiteY4" fmla="*/ 0 h 1330035"/>
                <a:gd name="connsiteX0" fmla="*/ 0 w 9144000"/>
                <a:gd name="connsiteY0" fmla="*/ 1270659 h 1330035"/>
                <a:gd name="connsiteX1" fmla="*/ 1674420 w 9144000"/>
                <a:gd name="connsiteY1" fmla="*/ 1318160 h 1330035"/>
                <a:gd name="connsiteX2" fmla="*/ 4120737 w 9144000"/>
                <a:gd name="connsiteY2" fmla="*/ 1199407 h 1330035"/>
                <a:gd name="connsiteX3" fmla="*/ 7172696 w 9144000"/>
                <a:gd name="connsiteY3" fmla="*/ 760020 h 1330035"/>
                <a:gd name="connsiteX4" fmla="*/ 9144000 w 9144000"/>
                <a:gd name="connsiteY4" fmla="*/ 0 h 1330035"/>
                <a:gd name="connsiteX0" fmla="*/ 0 w 9144000"/>
                <a:gd name="connsiteY0" fmla="*/ 1270659 h 1330035"/>
                <a:gd name="connsiteX1" fmla="*/ 1674420 w 9144000"/>
                <a:gd name="connsiteY1" fmla="*/ 1318160 h 1330035"/>
                <a:gd name="connsiteX2" fmla="*/ 4120737 w 9144000"/>
                <a:gd name="connsiteY2" fmla="*/ 1199407 h 1330035"/>
                <a:gd name="connsiteX3" fmla="*/ 7172696 w 9144000"/>
                <a:gd name="connsiteY3" fmla="*/ 760020 h 1330035"/>
                <a:gd name="connsiteX4" fmla="*/ 9144000 w 9144000"/>
                <a:gd name="connsiteY4" fmla="*/ 0 h 1330035"/>
                <a:gd name="connsiteX0" fmla="*/ 0 w 9144000"/>
                <a:gd name="connsiteY0" fmla="*/ 1116279 h 1175655"/>
                <a:gd name="connsiteX1" fmla="*/ 1674420 w 9144000"/>
                <a:gd name="connsiteY1" fmla="*/ 1163780 h 1175655"/>
                <a:gd name="connsiteX2" fmla="*/ 4120737 w 9144000"/>
                <a:gd name="connsiteY2" fmla="*/ 1045027 h 1175655"/>
                <a:gd name="connsiteX3" fmla="*/ 7172696 w 9144000"/>
                <a:gd name="connsiteY3" fmla="*/ 605640 h 1175655"/>
                <a:gd name="connsiteX4" fmla="*/ 9144000 w 9144000"/>
                <a:gd name="connsiteY4" fmla="*/ 0 h 1175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1175655">
                  <a:moveTo>
                    <a:pt x="0" y="1116279"/>
                  </a:moveTo>
                  <a:cubicBezTo>
                    <a:pt x="493815" y="1145967"/>
                    <a:pt x="987631" y="1175655"/>
                    <a:pt x="1674420" y="1163780"/>
                  </a:cubicBezTo>
                  <a:cubicBezTo>
                    <a:pt x="2361209" y="1151905"/>
                    <a:pt x="3204358" y="1138050"/>
                    <a:pt x="4120737" y="1045027"/>
                  </a:cubicBezTo>
                  <a:cubicBezTo>
                    <a:pt x="5037116" y="952004"/>
                    <a:pt x="6335486" y="779811"/>
                    <a:pt x="7172696" y="605640"/>
                  </a:cubicBezTo>
                  <a:cubicBezTo>
                    <a:pt x="8009907" y="431469"/>
                    <a:pt x="8866910" y="154379"/>
                    <a:pt x="9144000" y="0"/>
                  </a:cubicBezTo>
                </a:path>
              </a:pathLst>
            </a:custGeom>
            <a:grpFill/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Freeform 44">
              <a:extLst>
                <a:ext uri="{FF2B5EF4-FFF2-40B4-BE49-F238E27FC236}">
                  <a16:creationId xmlns:a16="http://schemas.microsoft.com/office/drawing/2014/main" id="{1E20D1E7-5BCC-4244-8299-9C473F60E62B}"/>
                </a:ext>
              </a:extLst>
            </p:cNvPr>
            <p:cNvSpPr/>
            <p:nvPr/>
          </p:nvSpPr>
          <p:spPr>
            <a:xfrm>
              <a:off x="-11875" y="3467595"/>
              <a:ext cx="9144000" cy="890650"/>
            </a:xfrm>
            <a:custGeom>
              <a:avLst/>
              <a:gdLst>
                <a:gd name="connsiteX0" fmla="*/ 0 w 9144000"/>
                <a:gd name="connsiteY0" fmla="*/ 890650 h 890650"/>
                <a:gd name="connsiteX1" fmla="*/ 1045028 w 9144000"/>
                <a:gd name="connsiteY1" fmla="*/ 475013 h 890650"/>
                <a:gd name="connsiteX2" fmla="*/ 3111335 w 9144000"/>
                <a:gd name="connsiteY2" fmla="*/ 71252 h 890650"/>
                <a:gd name="connsiteX3" fmla="*/ 5913911 w 9144000"/>
                <a:gd name="connsiteY3" fmla="*/ 71252 h 890650"/>
                <a:gd name="connsiteX4" fmla="*/ 9144000 w 9144000"/>
                <a:gd name="connsiteY4" fmla="*/ 498764 h 890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890650">
                  <a:moveTo>
                    <a:pt x="0" y="890650"/>
                  </a:moveTo>
                  <a:cubicBezTo>
                    <a:pt x="263236" y="751114"/>
                    <a:pt x="526472" y="611579"/>
                    <a:pt x="1045028" y="475013"/>
                  </a:cubicBezTo>
                  <a:cubicBezTo>
                    <a:pt x="1563584" y="338447"/>
                    <a:pt x="2299855" y="138545"/>
                    <a:pt x="3111335" y="71252"/>
                  </a:cubicBezTo>
                  <a:cubicBezTo>
                    <a:pt x="3922815" y="3959"/>
                    <a:pt x="4908467" y="0"/>
                    <a:pt x="5913911" y="71252"/>
                  </a:cubicBezTo>
                  <a:cubicBezTo>
                    <a:pt x="6919355" y="142504"/>
                    <a:pt x="8595756" y="427512"/>
                    <a:pt x="9144000" y="498764"/>
                  </a:cubicBezTo>
                </a:path>
              </a:pathLst>
            </a:custGeom>
            <a:grpFill/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Freeform 45">
              <a:extLst>
                <a:ext uri="{FF2B5EF4-FFF2-40B4-BE49-F238E27FC236}">
                  <a16:creationId xmlns:a16="http://schemas.microsoft.com/office/drawing/2014/main" id="{9A882FC8-7AA4-44E6-83BF-152C2D001E08}"/>
                </a:ext>
              </a:extLst>
            </p:cNvPr>
            <p:cNvSpPr/>
            <p:nvPr/>
          </p:nvSpPr>
          <p:spPr>
            <a:xfrm>
              <a:off x="-23751" y="5640779"/>
              <a:ext cx="3004457" cy="1211283"/>
            </a:xfrm>
            <a:custGeom>
              <a:avLst/>
              <a:gdLst>
                <a:gd name="connsiteX0" fmla="*/ 0 w 3004457"/>
                <a:gd name="connsiteY0" fmla="*/ 0 h 1211283"/>
                <a:gd name="connsiteX1" fmla="*/ 3004457 w 3004457"/>
                <a:gd name="connsiteY1" fmla="*/ 1211283 h 1211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04457" h="1211283">
                  <a:moveTo>
                    <a:pt x="0" y="0"/>
                  </a:moveTo>
                  <a:cubicBezTo>
                    <a:pt x="1103415" y="501732"/>
                    <a:pt x="2206831" y="1003465"/>
                    <a:pt x="3004457" y="1211283"/>
                  </a:cubicBezTo>
                </a:path>
              </a:pathLst>
            </a:custGeom>
            <a:grpFill/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Freeform 46">
              <a:extLst>
                <a:ext uri="{FF2B5EF4-FFF2-40B4-BE49-F238E27FC236}">
                  <a16:creationId xmlns:a16="http://schemas.microsoft.com/office/drawing/2014/main" id="{FCACC445-B0C5-42AE-8474-4309FA65CDB9}"/>
                </a:ext>
              </a:extLst>
            </p:cNvPr>
            <p:cNvSpPr/>
            <p:nvPr/>
          </p:nvSpPr>
          <p:spPr>
            <a:xfrm>
              <a:off x="-11875" y="5284519"/>
              <a:ext cx="9144000" cy="1478478"/>
            </a:xfrm>
            <a:custGeom>
              <a:avLst/>
              <a:gdLst>
                <a:gd name="connsiteX0" fmla="*/ 0 w 9144000"/>
                <a:gd name="connsiteY0" fmla="*/ 0 h 1478478"/>
                <a:gd name="connsiteX1" fmla="*/ 1104405 w 9144000"/>
                <a:gd name="connsiteY1" fmla="*/ 344385 h 1478478"/>
                <a:gd name="connsiteX2" fmla="*/ 3194462 w 9144000"/>
                <a:gd name="connsiteY2" fmla="*/ 866899 h 1478478"/>
                <a:gd name="connsiteX3" fmla="*/ 5676405 w 9144000"/>
                <a:gd name="connsiteY3" fmla="*/ 1282536 h 1478478"/>
                <a:gd name="connsiteX4" fmla="*/ 7730836 w 9144000"/>
                <a:gd name="connsiteY4" fmla="*/ 1448790 h 1478478"/>
                <a:gd name="connsiteX5" fmla="*/ 8573984 w 9144000"/>
                <a:gd name="connsiteY5" fmla="*/ 1460665 h 1478478"/>
                <a:gd name="connsiteX6" fmla="*/ 9144000 w 9144000"/>
                <a:gd name="connsiteY6" fmla="*/ 1425039 h 1478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44000" h="1478478">
                  <a:moveTo>
                    <a:pt x="0" y="0"/>
                  </a:moveTo>
                  <a:cubicBezTo>
                    <a:pt x="285997" y="99951"/>
                    <a:pt x="571995" y="199902"/>
                    <a:pt x="1104405" y="344385"/>
                  </a:cubicBezTo>
                  <a:cubicBezTo>
                    <a:pt x="1636815" y="488868"/>
                    <a:pt x="2432462" y="710541"/>
                    <a:pt x="3194462" y="866899"/>
                  </a:cubicBezTo>
                  <a:cubicBezTo>
                    <a:pt x="3956462" y="1023258"/>
                    <a:pt x="4920343" y="1185554"/>
                    <a:pt x="5676405" y="1282536"/>
                  </a:cubicBezTo>
                  <a:cubicBezTo>
                    <a:pt x="6432467" y="1379518"/>
                    <a:pt x="7247906" y="1419102"/>
                    <a:pt x="7730836" y="1448790"/>
                  </a:cubicBezTo>
                  <a:cubicBezTo>
                    <a:pt x="8213766" y="1478478"/>
                    <a:pt x="8338457" y="1464623"/>
                    <a:pt x="8573984" y="1460665"/>
                  </a:cubicBezTo>
                  <a:cubicBezTo>
                    <a:pt x="8809511" y="1456707"/>
                    <a:pt x="8976755" y="1440873"/>
                    <a:pt x="9144000" y="1425039"/>
                  </a:cubicBezTo>
                </a:path>
              </a:pathLst>
            </a:custGeom>
            <a:grpFill/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Freeform 48">
              <a:extLst>
                <a:ext uri="{FF2B5EF4-FFF2-40B4-BE49-F238E27FC236}">
                  <a16:creationId xmlns:a16="http://schemas.microsoft.com/office/drawing/2014/main" id="{8493791D-78B1-481B-BF50-C4DC4449C28C}"/>
                </a:ext>
              </a:extLst>
            </p:cNvPr>
            <p:cNvSpPr/>
            <p:nvPr/>
          </p:nvSpPr>
          <p:spPr>
            <a:xfrm>
              <a:off x="2137558" y="5132120"/>
              <a:ext cx="6982691" cy="1719942"/>
            </a:xfrm>
            <a:custGeom>
              <a:avLst/>
              <a:gdLst>
                <a:gd name="connsiteX0" fmla="*/ 0 w 6982691"/>
                <a:gd name="connsiteY0" fmla="*/ 1719942 h 1719942"/>
                <a:gd name="connsiteX1" fmla="*/ 546265 w 6982691"/>
                <a:gd name="connsiteY1" fmla="*/ 1185553 h 1719942"/>
                <a:gd name="connsiteX2" fmla="*/ 1330037 w 6982691"/>
                <a:gd name="connsiteY2" fmla="*/ 710540 h 1719942"/>
                <a:gd name="connsiteX3" fmla="*/ 2078182 w 6982691"/>
                <a:gd name="connsiteY3" fmla="*/ 437407 h 1719942"/>
                <a:gd name="connsiteX4" fmla="*/ 3348842 w 6982691"/>
                <a:gd name="connsiteY4" fmla="*/ 152399 h 1719942"/>
                <a:gd name="connsiteX5" fmla="*/ 4001985 w 6982691"/>
                <a:gd name="connsiteY5" fmla="*/ 69272 h 1719942"/>
                <a:gd name="connsiteX6" fmla="*/ 5047013 w 6982691"/>
                <a:gd name="connsiteY6" fmla="*/ 9896 h 1719942"/>
                <a:gd name="connsiteX7" fmla="*/ 5890161 w 6982691"/>
                <a:gd name="connsiteY7" fmla="*/ 9896 h 1719942"/>
                <a:gd name="connsiteX8" fmla="*/ 6495803 w 6982691"/>
                <a:gd name="connsiteY8" fmla="*/ 9896 h 1719942"/>
                <a:gd name="connsiteX9" fmla="*/ 6899564 w 6982691"/>
                <a:gd name="connsiteY9" fmla="*/ 33646 h 1719942"/>
                <a:gd name="connsiteX10" fmla="*/ 6982691 w 6982691"/>
                <a:gd name="connsiteY10" fmla="*/ 45522 h 171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982691" h="1719942">
                  <a:moveTo>
                    <a:pt x="0" y="1719942"/>
                  </a:moveTo>
                  <a:cubicBezTo>
                    <a:pt x="162296" y="1536864"/>
                    <a:pt x="324592" y="1353787"/>
                    <a:pt x="546265" y="1185553"/>
                  </a:cubicBezTo>
                  <a:cubicBezTo>
                    <a:pt x="767938" y="1017319"/>
                    <a:pt x="1074718" y="835231"/>
                    <a:pt x="1330037" y="710540"/>
                  </a:cubicBezTo>
                  <a:cubicBezTo>
                    <a:pt x="1585356" y="585849"/>
                    <a:pt x="1741715" y="530430"/>
                    <a:pt x="2078182" y="437407"/>
                  </a:cubicBezTo>
                  <a:cubicBezTo>
                    <a:pt x="2414649" y="344384"/>
                    <a:pt x="3028208" y="213755"/>
                    <a:pt x="3348842" y="152399"/>
                  </a:cubicBezTo>
                  <a:cubicBezTo>
                    <a:pt x="3669476" y="91043"/>
                    <a:pt x="3718957" y="93022"/>
                    <a:pt x="4001985" y="69272"/>
                  </a:cubicBezTo>
                  <a:cubicBezTo>
                    <a:pt x="4285013" y="45522"/>
                    <a:pt x="4732317" y="19792"/>
                    <a:pt x="5047013" y="9896"/>
                  </a:cubicBezTo>
                  <a:cubicBezTo>
                    <a:pt x="5361709" y="0"/>
                    <a:pt x="5890161" y="9896"/>
                    <a:pt x="5890161" y="9896"/>
                  </a:cubicBezTo>
                  <a:lnTo>
                    <a:pt x="6495803" y="9896"/>
                  </a:lnTo>
                  <a:cubicBezTo>
                    <a:pt x="6664037" y="13854"/>
                    <a:pt x="6818416" y="27708"/>
                    <a:pt x="6899564" y="33646"/>
                  </a:cubicBezTo>
                  <a:cubicBezTo>
                    <a:pt x="6980712" y="39584"/>
                    <a:pt x="6953003" y="37605"/>
                    <a:pt x="6982691" y="45522"/>
                  </a:cubicBezTo>
                </a:path>
              </a:pathLst>
            </a:custGeom>
            <a:grpFill/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Hexagon 11">
              <a:extLst>
                <a:ext uri="{FF2B5EF4-FFF2-40B4-BE49-F238E27FC236}">
                  <a16:creationId xmlns:a16="http://schemas.microsoft.com/office/drawing/2014/main" id="{E22125A5-91F5-4234-8A5E-F3997AB66E54}"/>
                </a:ext>
              </a:extLst>
            </p:cNvPr>
            <p:cNvSpPr/>
            <p:nvPr/>
          </p:nvSpPr>
          <p:spPr>
            <a:xfrm rot="1800000">
              <a:off x="2996165" y="2859252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Hexagon 12">
              <a:extLst>
                <a:ext uri="{FF2B5EF4-FFF2-40B4-BE49-F238E27FC236}">
                  <a16:creationId xmlns:a16="http://schemas.microsoft.com/office/drawing/2014/main" id="{6C09DD35-2D17-4A03-B8DA-347678583CBE}"/>
                </a:ext>
              </a:extLst>
            </p:cNvPr>
            <p:cNvSpPr/>
            <p:nvPr/>
          </p:nvSpPr>
          <p:spPr>
            <a:xfrm rot="1800000">
              <a:off x="3720065" y="4126078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Hexagon 13">
              <a:extLst>
                <a:ext uri="{FF2B5EF4-FFF2-40B4-BE49-F238E27FC236}">
                  <a16:creationId xmlns:a16="http://schemas.microsoft.com/office/drawing/2014/main" id="{983021F1-B6F5-4293-AE5A-D2F5A13569B1}"/>
                </a:ext>
              </a:extLst>
            </p:cNvPr>
            <p:cNvSpPr/>
            <p:nvPr/>
          </p:nvSpPr>
          <p:spPr>
            <a:xfrm rot="1800000">
              <a:off x="3729591" y="1592427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Hexagon 14">
              <a:extLst>
                <a:ext uri="{FF2B5EF4-FFF2-40B4-BE49-F238E27FC236}">
                  <a16:creationId xmlns:a16="http://schemas.microsoft.com/office/drawing/2014/main" id="{1FC33CF0-ADAA-448F-B3C1-1BE965AAA64B}"/>
                </a:ext>
              </a:extLst>
            </p:cNvPr>
            <p:cNvSpPr/>
            <p:nvPr/>
          </p:nvSpPr>
          <p:spPr>
            <a:xfrm rot="1800000">
              <a:off x="2977115" y="325603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Hexagon 15">
              <a:extLst>
                <a:ext uri="{FF2B5EF4-FFF2-40B4-BE49-F238E27FC236}">
                  <a16:creationId xmlns:a16="http://schemas.microsoft.com/office/drawing/2014/main" id="{2A5BBDAC-6CA5-4088-A555-9B0E9C0AA72B}"/>
                </a:ext>
              </a:extLst>
            </p:cNvPr>
            <p:cNvSpPr/>
            <p:nvPr/>
          </p:nvSpPr>
          <p:spPr>
            <a:xfrm rot="1800000">
              <a:off x="4463014" y="5383378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Freeform 54">
              <a:extLst>
                <a:ext uri="{FF2B5EF4-FFF2-40B4-BE49-F238E27FC236}">
                  <a16:creationId xmlns:a16="http://schemas.microsoft.com/office/drawing/2014/main" id="{66ABA9A7-53CF-45C3-A9ED-A2A8885E9346}"/>
                </a:ext>
              </a:extLst>
            </p:cNvPr>
            <p:cNvSpPr/>
            <p:nvPr/>
          </p:nvSpPr>
          <p:spPr>
            <a:xfrm rot="1800000">
              <a:off x="-382404" y="4201528"/>
              <a:ext cx="1261499" cy="1388236"/>
            </a:xfrm>
            <a:custGeom>
              <a:avLst/>
              <a:gdLst>
                <a:gd name="connsiteX0" fmla="*/ 0 w 1601400"/>
                <a:gd name="connsiteY0" fmla="*/ 694118 h 1388236"/>
                <a:gd name="connsiteX1" fmla="*/ 396258 w 1601400"/>
                <a:gd name="connsiteY1" fmla="*/ 0 h 1388236"/>
                <a:gd name="connsiteX2" fmla="*/ 1205142 w 1601400"/>
                <a:gd name="connsiteY2" fmla="*/ 0 h 1388236"/>
                <a:gd name="connsiteX3" fmla="*/ 1601400 w 1601400"/>
                <a:gd name="connsiteY3" fmla="*/ 694118 h 1388236"/>
                <a:gd name="connsiteX4" fmla="*/ 1205142 w 1601400"/>
                <a:gd name="connsiteY4" fmla="*/ 1388236 h 1388236"/>
                <a:gd name="connsiteX5" fmla="*/ 396258 w 1601400"/>
                <a:gd name="connsiteY5" fmla="*/ 1388236 h 1388236"/>
                <a:gd name="connsiteX6" fmla="*/ 0 w 1601400"/>
                <a:gd name="connsiteY6" fmla="*/ 694118 h 1388236"/>
                <a:gd name="connsiteX0" fmla="*/ 0 w 1261499"/>
                <a:gd name="connsiteY0" fmla="*/ 105098 h 1388236"/>
                <a:gd name="connsiteX1" fmla="*/ 56357 w 1261499"/>
                <a:gd name="connsiteY1" fmla="*/ 0 h 1388236"/>
                <a:gd name="connsiteX2" fmla="*/ 865241 w 1261499"/>
                <a:gd name="connsiteY2" fmla="*/ 0 h 1388236"/>
                <a:gd name="connsiteX3" fmla="*/ 1261499 w 1261499"/>
                <a:gd name="connsiteY3" fmla="*/ 694118 h 1388236"/>
                <a:gd name="connsiteX4" fmla="*/ 865241 w 1261499"/>
                <a:gd name="connsiteY4" fmla="*/ 1388236 h 1388236"/>
                <a:gd name="connsiteX5" fmla="*/ 56357 w 1261499"/>
                <a:gd name="connsiteY5" fmla="*/ 1388236 h 1388236"/>
                <a:gd name="connsiteX6" fmla="*/ 0 w 1261499"/>
                <a:gd name="connsiteY6" fmla="*/ 105098 h 1388236"/>
                <a:gd name="connsiteX0" fmla="*/ 0 w 1261499"/>
                <a:gd name="connsiteY0" fmla="*/ 105098 h 1388236"/>
                <a:gd name="connsiteX1" fmla="*/ 56357 w 1261499"/>
                <a:gd name="connsiteY1" fmla="*/ 0 h 1388236"/>
                <a:gd name="connsiteX2" fmla="*/ 865241 w 1261499"/>
                <a:gd name="connsiteY2" fmla="*/ 0 h 1388236"/>
                <a:gd name="connsiteX3" fmla="*/ 1261499 w 1261499"/>
                <a:gd name="connsiteY3" fmla="*/ 694118 h 1388236"/>
                <a:gd name="connsiteX4" fmla="*/ 865241 w 1261499"/>
                <a:gd name="connsiteY4" fmla="*/ 1388236 h 1388236"/>
                <a:gd name="connsiteX5" fmla="*/ 744578 w 1261499"/>
                <a:gd name="connsiteY5" fmla="*/ 1387893 h 1388236"/>
                <a:gd name="connsiteX6" fmla="*/ 0 w 1261499"/>
                <a:gd name="connsiteY6" fmla="*/ 105098 h 138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61499" h="1388236">
                  <a:moveTo>
                    <a:pt x="0" y="105098"/>
                  </a:moveTo>
                  <a:lnTo>
                    <a:pt x="56357" y="0"/>
                  </a:lnTo>
                  <a:lnTo>
                    <a:pt x="865241" y="0"/>
                  </a:lnTo>
                  <a:lnTo>
                    <a:pt x="1261499" y="694118"/>
                  </a:lnTo>
                  <a:lnTo>
                    <a:pt x="865241" y="1388236"/>
                  </a:lnTo>
                  <a:lnTo>
                    <a:pt x="744578" y="1387893"/>
                  </a:lnTo>
                  <a:lnTo>
                    <a:pt x="0" y="105098"/>
                  </a:lnTo>
                  <a:close/>
                </a:path>
              </a:pathLst>
            </a:cu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Hexagon 17">
              <a:extLst>
                <a:ext uri="{FF2B5EF4-FFF2-40B4-BE49-F238E27FC236}">
                  <a16:creationId xmlns:a16="http://schemas.microsoft.com/office/drawing/2014/main" id="{B40403B1-59EF-4424-BD23-2552490078D4}"/>
                </a:ext>
              </a:extLst>
            </p:cNvPr>
            <p:cNvSpPr/>
            <p:nvPr/>
          </p:nvSpPr>
          <p:spPr>
            <a:xfrm rot="1800000">
              <a:off x="24365" y="5402429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Hexagon 18">
              <a:extLst>
                <a:ext uri="{FF2B5EF4-FFF2-40B4-BE49-F238E27FC236}">
                  <a16:creationId xmlns:a16="http://schemas.microsoft.com/office/drawing/2014/main" id="{A66EAAC9-ADD7-4F93-817F-A8CC84E25D9C}"/>
                </a:ext>
              </a:extLst>
            </p:cNvPr>
            <p:cNvSpPr/>
            <p:nvPr/>
          </p:nvSpPr>
          <p:spPr>
            <a:xfrm rot="1800000">
              <a:off x="52941" y="2849728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Hexagon 19">
              <a:extLst>
                <a:ext uri="{FF2B5EF4-FFF2-40B4-BE49-F238E27FC236}">
                  <a16:creationId xmlns:a16="http://schemas.microsoft.com/office/drawing/2014/main" id="{2DD315FD-E45F-4673-BFE5-D7BB161AFE70}"/>
                </a:ext>
              </a:extLst>
            </p:cNvPr>
            <p:cNvSpPr/>
            <p:nvPr/>
          </p:nvSpPr>
          <p:spPr>
            <a:xfrm rot="1800000">
              <a:off x="776840" y="4126077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Hexagon 20">
              <a:extLst>
                <a:ext uri="{FF2B5EF4-FFF2-40B4-BE49-F238E27FC236}">
                  <a16:creationId xmlns:a16="http://schemas.microsoft.com/office/drawing/2014/main" id="{14694F88-B582-4BB4-A12E-DA99A1B733A6}"/>
                </a:ext>
              </a:extLst>
            </p:cNvPr>
            <p:cNvSpPr/>
            <p:nvPr/>
          </p:nvSpPr>
          <p:spPr>
            <a:xfrm rot="1800000">
              <a:off x="1510265" y="5411953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Hexagon 21">
              <a:extLst>
                <a:ext uri="{FF2B5EF4-FFF2-40B4-BE49-F238E27FC236}">
                  <a16:creationId xmlns:a16="http://schemas.microsoft.com/office/drawing/2014/main" id="{4E60FFE4-8F23-4429-9031-A315D76CAD90}"/>
                </a:ext>
              </a:extLst>
            </p:cNvPr>
            <p:cNvSpPr/>
            <p:nvPr/>
          </p:nvSpPr>
          <p:spPr>
            <a:xfrm rot="1800000">
              <a:off x="1529316" y="2859252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Hexagon 22">
              <a:extLst>
                <a:ext uri="{FF2B5EF4-FFF2-40B4-BE49-F238E27FC236}">
                  <a16:creationId xmlns:a16="http://schemas.microsoft.com/office/drawing/2014/main" id="{B15754C7-B21A-40D1-A03F-FBD9C846E465}"/>
                </a:ext>
              </a:extLst>
            </p:cNvPr>
            <p:cNvSpPr/>
            <p:nvPr/>
          </p:nvSpPr>
          <p:spPr>
            <a:xfrm rot="1800000">
              <a:off x="795890" y="1563853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Hexagon 23">
              <a:extLst>
                <a:ext uri="{FF2B5EF4-FFF2-40B4-BE49-F238E27FC236}">
                  <a16:creationId xmlns:a16="http://schemas.microsoft.com/office/drawing/2014/main" id="{9E0A251A-02D8-47B2-AA8D-1D5EE6BE4949}"/>
                </a:ext>
              </a:extLst>
            </p:cNvPr>
            <p:cNvSpPr/>
            <p:nvPr/>
          </p:nvSpPr>
          <p:spPr>
            <a:xfrm rot="1800000">
              <a:off x="6806166" y="4145128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Hexagon 24">
              <a:extLst>
                <a:ext uri="{FF2B5EF4-FFF2-40B4-BE49-F238E27FC236}">
                  <a16:creationId xmlns:a16="http://schemas.microsoft.com/office/drawing/2014/main" id="{18760BDE-4A46-433D-9CEA-5DD287D895CF}"/>
                </a:ext>
              </a:extLst>
            </p:cNvPr>
            <p:cNvSpPr/>
            <p:nvPr/>
          </p:nvSpPr>
          <p:spPr>
            <a:xfrm rot="1800000">
              <a:off x="7549116" y="5421479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Hexagon 25">
              <a:extLst>
                <a:ext uri="{FF2B5EF4-FFF2-40B4-BE49-F238E27FC236}">
                  <a16:creationId xmlns:a16="http://schemas.microsoft.com/office/drawing/2014/main" id="{EC8FFE81-F49B-41A1-8835-AE2EB884D7E4}"/>
                </a:ext>
              </a:extLst>
            </p:cNvPr>
            <p:cNvSpPr/>
            <p:nvPr/>
          </p:nvSpPr>
          <p:spPr>
            <a:xfrm rot="1800000">
              <a:off x="7549117" y="2868778"/>
              <a:ext cx="1601400" cy="1388236"/>
            </a:xfrm>
            <a:prstGeom prst="hexagon">
              <a:avLst>
                <a:gd name="adj" fmla="val 28544"/>
                <a:gd name="vf" fmla="val 115470"/>
              </a:avLst>
            </a:pr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Freeform 98">
              <a:extLst>
                <a:ext uri="{FF2B5EF4-FFF2-40B4-BE49-F238E27FC236}">
                  <a16:creationId xmlns:a16="http://schemas.microsoft.com/office/drawing/2014/main" id="{B069DA57-B90A-4B51-B4FC-D98480DE6A3B}"/>
                </a:ext>
              </a:extLst>
            </p:cNvPr>
            <p:cNvSpPr/>
            <p:nvPr/>
          </p:nvSpPr>
          <p:spPr>
            <a:xfrm rot="1800000">
              <a:off x="8306521" y="4055629"/>
              <a:ext cx="1243407" cy="1388236"/>
            </a:xfrm>
            <a:custGeom>
              <a:avLst/>
              <a:gdLst>
                <a:gd name="connsiteX0" fmla="*/ 0 w 1601400"/>
                <a:gd name="connsiteY0" fmla="*/ 694118 h 1388236"/>
                <a:gd name="connsiteX1" fmla="*/ 396258 w 1601400"/>
                <a:gd name="connsiteY1" fmla="*/ 0 h 1388236"/>
                <a:gd name="connsiteX2" fmla="*/ 1205142 w 1601400"/>
                <a:gd name="connsiteY2" fmla="*/ 0 h 1388236"/>
                <a:gd name="connsiteX3" fmla="*/ 1601400 w 1601400"/>
                <a:gd name="connsiteY3" fmla="*/ 694118 h 1388236"/>
                <a:gd name="connsiteX4" fmla="*/ 1205142 w 1601400"/>
                <a:gd name="connsiteY4" fmla="*/ 1388236 h 1388236"/>
                <a:gd name="connsiteX5" fmla="*/ 396258 w 1601400"/>
                <a:gd name="connsiteY5" fmla="*/ 1388236 h 1388236"/>
                <a:gd name="connsiteX6" fmla="*/ 0 w 1601400"/>
                <a:gd name="connsiteY6" fmla="*/ 694118 h 1388236"/>
                <a:gd name="connsiteX0" fmla="*/ 0 w 1601400"/>
                <a:gd name="connsiteY0" fmla="*/ 694118 h 1388236"/>
                <a:gd name="connsiteX1" fmla="*/ 396258 w 1601400"/>
                <a:gd name="connsiteY1" fmla="*/ 0 h 1388236"/>
                <a:gd name="connsiteX2" fmla="*/ 474029 w 1601400"/>
                <a:gd name="connsiteY2" fmla="*/ 4016 h 1388236"/>
                <a:gd name="connsiteX3" fmla="*/ 1601400 w 1601400"/>
                <a:gd name="connsiteY3" fmla="*/ 694118 h 1388236"/>
                <a:gd name="connsiteX4" fmla="*/ 1205142 w 1601400"/>
                <a:gd name="connsiteY4" fmla="*/ 1388236 h 1388236"/>
                <a:gd name="connsiteX5" fmla="*/ 396258 w 1601400"/>
                <a:gd name="connsiteY5" fmla="*/ 1388236 h 1388236"/>
                <a:gd name="connsiteX6" fmla="*/ 0 w 1601400"/>
                <a:gd name="connsiteY6" fmla="*/ 694118 h 1388236"/>
                <a:gd name="connsiteX0" fmla="*/ 0 w 1243407"/>
                <a:gd name="connsiteY0" fmla="*/ 694118 h 1388236"/>
                <a:gd name="connsiteX1" fmla="*/ 396258 w 1243407"/>
                <a:gd name="connsiteY1" fmla="*/ 0 h 1388236"/>
                <a:gd name="connsiteX2" fmla="*/ 474029 w 1243407"/>
                <a:gd name="connsiteY2" fmla="*/ 4016 h 1388236"/>
                <a:gd name="connsiteX3" fmla="*/ 1243407 w 1243407"/>
                <a:gd name="connsiteY3" fmla="*/ 1325983 h 1388236"/>
                <a:gd name="connsiteX4" fmla="*/ 1205142 w 1243407"/>
                <a:gd name="connsiteY4" fmla="*/ 1388236 h 1388236"/>
                <a:gd name="connsiteX5" fmla="*/ 396258 w 1243407"/>
                <a:gd name="connsiteY5" fmla="*/ 1388236 h 1388236"/>
                <a:gd name="connsiteX6" fmla="*/ 0 w 1243407"/>
                <a:gd name="connsiteY6" fmla="*/ 694118 h 138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3407" h="1388236">
                  <a:moveTo>
                    <a:pt x="0" y="694118"/>
                  </a:moveTo>
                  <a:lnTo>
                    <a:pt x="396258" y="0"/>
                  </a:lnTo>
                  <a:lnTo>
                    <a:pt x="474029" y="4016"/>
                  </a:lnTo>
                  <a:lnTo>
                    <a:pt x="1243407" y="1325983"/>
                  </a:lnTo>
                  <a:lnTo>
                    <a:pt x="1205142" y="1388236"/>
                  </a:lnTo>
                  <a:lnTo>
                    <a:pt x="396258" y="1388236"/>
                  </a:lnTo>
                  <a:lnTo>
                    <a:pt x="0" y="694118"/>
                  </a:lnTo>
                  <a:close/>
                </a:path>
              </a:pathLst>
            </a:cu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Freeform 99">
              <a:extLst>
                <a:ext uri="{FF2B5EF4-FFF2-40B4-BE49-F238E27FC236}">
                  <a16:creationId xmlns:a16="http://schemas.microsoft.com/office/drawing/2014/main" id="{3BB119D4-A199-40DD-A24A-B6B5EAC40EDE}"/>
                </a:ext>
              </a:extLst>
            </p:cNvPr>
            <p:cNvSpPr/>
            <p:nvPr/>
          </p:nvSpPr>
          <p:spPr>
            <a:xfrm rot="1800000">
              <a:off x="8306771" y="1511524"/>
              <a:ext cx="1241871" cy="1388822"/>
            </a:xfrm>
            <a:custGeom>
              <a:avLst/>
              <a:gdLst>
                <a:gd name="connsiteX0" fmla="*/ 0 w 1601400"/>
                <a:gd name="connsiteY0" fmla="*/ 694118 h 1388236"/>
                <a:gd name="connsiteX1" fmla="*/ 396258 w 1601400"/>
                <a:gd name="connsiteY1" fmla="*/ 0 h 1388236"/>
                <a:gd name="connsiteX2" fmla="*/ 1205142 w 1601400"/>
                <a:gd name="connsiteY2" fmla="*/ 0 h 1388236"/>
                <a:gd name="connsiteX3" fmla="*/ 1601400 w 1601400"/>
                <a:gd name="connsiteY3" fmla="*/ 694118 h 1388236"/>
                <a:gd name="connsiteX4" fmla="*/ 1205142 w 1601400"/>
                <a:gd name="connsiteY4" fmla="*/ 1388236 h 1388236"/>
                <a:gd name="connsiteX5" fmla="*/ 396258 w 1601400"/>
                <a:gd name="connsiteY5" fmla="*/ 1388236 h 1388236"/>
                <a:gd name="connsiteX6" fmla="*/ 0 w 1601400"/>
                <a:gd name="connsiteY6" fmla="*/ 694118 h 1388236"/>
                <a:gd name="connsiteX0" fmla="*/ 0 w 1601400"/>
                <a:gd name="connsiteY0" fmla="*/ 694704 h 1388822"/>
                <a:gd name="connsiteX1" fmla="*/ 396258 w 1601400"/>
                <a:gd name="connsiteY1" fmla="*/ 586 h 1388822"/>
                <a:gd name="connsiteX2" fmla="*/ 482002 w 1601400"/>
                <a:gd name="connsiteY2" fmla="*/ 0 h 1388822"/>
                <a:gd name="connsiteX3" fmla="*/ 1601400 w 1601400"/>
                <a:gd name="connsiteY3" fmla="*/ 694704 h 1388822"/>
                <a:gd name="connsiteX4" fmla="*/ 1205142 w 1601400"/>
                <a:gd name="connsiteY4" fmla="*/ 1388822 h 1388822"/>
                <a:gd name="connsiteX5" fmla="*/ 396258 w 1601400"/>
                <a:gd name="connsiteY5" fmla="*/ 1388822 h 1388822"/>
                <a:gd name="connsiteX6" fmla="*/ 0 w 1601400"/>
                <a:gd name="connsiteY6" fmla="*/ 694704 h 1388822"/>
                <a:gd name="connsiteX0" fmla="*/ 0 w 1241871"/>
                <a:gd name="connsiteY0" fmla="*/ 694704 h 1388822"/>
                <a:gd name="connsiteX1" fmla="*/ 396258 w 1241871"/>
                <a:gd name="connsiteY1" fmla="*/ 586 h 1388822"/>
                <a:gd name="connsiteX2" fmla="*/ 482002 w 1241871"/>
                <a:gd name="connsiteY2" fmla="*/ 0 h 1388822"/>
                <a:gd name="connsiteX3" fmla="*/ 1241871 w 1241871"/>
                <a:gd name="connsiteY3" fmla="*/ 1323912 h 1388822"/>
                <a:gd name="connsiteX4" fmla="*/ 1205142 w 1241871"/>
                <a:gd name="connsiteY4" fmla="*/ 1388822 h 1388822"/>
                <a:gd name="connsiteX5" fmla="*/ 396258 w 1241871"/>
                <a:gd name="connsiteY5" fmla="*/ 1388822 h 1388822"/>
                <a:gd name="connsiteX6" fmla="*/ 0 w 1241871"/>
                <a:gd name="connsiteY6" fmla="*/ 694704 h 1388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1871" h="1388822">
                  <a:moveTo>
                    <a:pt x="0" y="694704"/>
                  </a:moveTo>
                  <a:lnTo>
                    <a:pt x="396258" y="586"/>
                  </a:lnTo>
                  <a:lnTo>
                    <a:pt x="482002" y="0"/>
                  </a:lnTo>
                  <a:lnTo>
                    <a:pt x="1241871" y="1323912"/>
                  </a:lnTo>
                  <a:lnTo>
                    <a:pt x="1205142" y="1388822"/>
                  </a:lnTo>
                  <a:lnTo>
                    <a:pt x="396258" y="1388822"/>
                  </a:lnTo>
                  <a:lnTo>
                    <a:pt x="0" y="694704"/>
                  </a:lnTo>
                  <a:close/>
                </a:path>
              </a:pathLst>
            </a:custGeom>
            <a:grp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8645" y="2900829"/>
            <a:ext cx="6637468" cy="679133"/>
          </a:xfrm>
          <a:prstGeom prst="rect">
            <a:avLst/>
          </a:prstGeom>
        </p:spPr>
        <p:txBody>
          <a:bodyPr anchor="b"/>
          <a:lstStyle>
            <a:lvl1pPr algn="l">
              <a:defRPr sz="4000" b="1" cap="none" baseline="0">
                <a:solidFill>
                  <a:schemeClr val="bg1"/>
                </a:solidFill>
              </a:defRPr>
            </a:lvl1pPr>
          </a:lstStyle>
          <a:p>
            <a:r>
              <a:rPr lang="nl-BE"/>
              <a:t>Cliquez et modifiez le titre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508E3F5-16A8-4501-A925-3794667EF0AB}"/>
              </a:ext>
            </a:extLst>
          </p:cNvPr>
          <p:cNvSpPr txBox="1"/>
          <p:nvPr userDrawn="1"/>
        </p:nvSpPr>
        <p:spPr>
          <a:xfrm>
            <a:off x="8479767" y="6568676"/>
            <a:ext cx="6642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200" smtClean="0">
                <a:solidFill>
                  <a:srgbClr val="246372"/>
                </a:solidFill>
              </a:rPr>
              <a:pPr algn="r"/>
              <a:t>‹#›</a:t>
            </a:fld>
            <a:endParaRPr lang="fr-BE" sz="1200" dirty="0">
              <a:solidFill>
                <a:srgbClr val="2463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03738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809503" y="1949570"/>
            <a:ext cx="3419856" cy="37438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BE" dirty="0" err="1"/>
              <a:t>Cliquez</a:t>
            </a:r>
            <a:r>
              <a:rPr lang="nl-BE" dirty="0"/>
              <a:t> pour </a:t>
            </a:r>
            <a:r>
              <a:rPr lang="nl-BE" dirty="0" err="1"/>
              <a:t>modifier</a:t>
            </a:r>
            <a:r>
              <a:rPr lang="nl-BE" dirty="0"/>
              <a:t> les </a:t>
            </a:r>
            <a:r>
              <a:rPr lang="nl-BE" dirty="0" err="1"/>
              <a:t>styles</a:t>
            </a:r>
            <a:r>
              <a:rPr lang="nl-BE" dirty="0"/>
              <a:t> du </a:t>
            </a:r>
            <a:r>
              <a:rPr lang="nl-BE" dirty="0" err="1"/>
              <a:t>texte</a:t>
            </a:r>
            <a:r>
              <a:rPr lang="nl-BE" dirty="0"/>
              <a:t> du </a:t>
            </a:r>
            <a:r>
              <a:rPr lang="nl-BE" dirty="0" err="1"/>
              <a:t>masque</a:t>
            </a:r>
            <a:endParaRPr lang="nl-BE" dirty="0"/>
          </a:p>
          <a:p>
            <a:pPr lvl="1"/>
            <a:r>
              <a:rPr lang="nl-BE" dirty="0" err="1"/>
              <a:t>Deuxième</a:t>
            </a:r>
            <a:r>
              <a:rPr lang="nl-BE" dirty="0"/>
              <a:t> niveau</a:t>
            </a:r>
          </a:p>
          <a:p>
            <a:pPr lvl="2"/>
            <a:r>
              <a:rPr lang="nl-BE" dirty="0" err="1"/>
              <a:t>Troisième</a:t>
            </a:r>
            <a:r>
              <a:rPr lang="nl-BE" dirty="0"/>
              <a:t> niveau</a:t>
            </a:r>
          </a:p>
          <a:p>
            <a:pPr lvl="3"/>
            <a:r>
              <a:rPr lang="nl-BE" dirty="0" err="1"/>
              <a:t>Quatrième</a:t>
            </a:r>
            <a:r>
              <a:rPr lang="nl-BE" dirty="0"/>
              <a:t> niveau</a:t>
            </a:r>
          </a:p>
          <a:p>
            <a:pPr lvl="4"/>
            <a:r>
              <a:rPr lang="nl-BE" dirty="0" err="1"/>
              <a:t>Cinquième</a:t>
            </a:r>
            <a:r>
              <a:rPr lang="nl-BE" dirty="0"/>
              <a:t> niveau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1949569"/>
            <a:ext cx="3419856" cy="37438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BE" dirty="0"/>
              <a:t>Cliquez pour modifier les styles du texte du masque</a:t>
            </a:r>
          </a:p>
          <a:p>
            <a:pPr lvl="1"/>
            <a:r>
              <a:rPr lang="nl-BE" dirty="0"/>
              <a:t>Deuxième niveau</a:t>
            </a:r>
          </a:p>
          <a:p>
            <a:pPr lvl="2"/>
            <a:r>
              <a:rPr lang="nl-BE" dirty="0"/>
              <a:t>Troisième niveau</a:t>
            </a:r>
          </a:p>
          <a:p>
            <a:pPr lvl="3"/>
            <a:r>
              <a:rPr lang="nl-BE" dirty="0"/>
              <a:t>Quatrième niveau</a:t>
            </a:r>
          </a:p>
          <a:p>
            <a:pPr lvl="4"/>
            <a:r>
              <a:rPr lang="nl-BE" dirty="0"/>
              <a:t>Cinquième niveau</a:t>
            </a:r>
            <a:endParaRPr lang="en-U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0133521C-5FBA-4802-8D0D-59E4809BCB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472" y="270748"/>
            <a:ext cx="8360086" cy="60040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nl-BE" dirty="0"/>
              <a:t>Cliquez et modifiez le titr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E7A1A3B0-E90D-45A6-BA01-87BEB2F5BACB}"/>
              </a:ext>
            </a:extLst>
          </p:cNvPr>
          <p:cNvSpPr txBox="1">
            <a:spLocks/>
          </p:cNvSpPr>
          <p:nvPr userDrawn="1"/>
        </p:nvSpPr>
        <p:spPr>
          <a:xfrm>
            <a:off x="809503" y="1354801"/>
            <a:ext cx="3419856" cy="49125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nl-BE" sz="2000" dirty="0" err="1"/>
              <a:t>Cliquez</a:t>
            </a:r>
            <a:r>
              <a:rPr lang="nl-BE" sz="2000" dirty="0"/>
              <a:t> et </a:t>
            </a:r>
            <a:r>
              <a:rPr lang="nl-BE" sz="2000" dirty="0" err="1"/>
              <a:t>modifiez</a:t>
            </a:r>
            <a:r>
              <a:rPr lang="nl-BE" sz="2000" dirty="0"/>
              <a:t> </a:t>
            </a:r>
            <a:r>
              <a:rPr lang="nl-BE" sz="2000" dirty="0" err="1"/>
              <a:t>le</a:t>
            </a:r>
            <a:r>
              <a:rPr lang="nl-BE" sz="2000" dirty="0"/>
              <a:t> </a:t>
            </a:r>
            <a:r>
              <a:rPr lang="nl-BE" sz="2000" dirty="0" err="1"/>
              <a:t>titre</a:t>
            </a:r>
            <a:endParaRPr lang="en-US" sz="2000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D0E195EF-A093-49D4-B01A-4890C206891A}"/>
              </a:ext>
            </a:extLst>
          </p:cNvPr>
          <p:cNvSpPr txBox="1">
            <a:spLocks/>
          </p:cNvSpPr>
          <p:nvPr userDrawn="1"/>
        </p:nvSpPr>
        <p:spPr>
          <a:xfrm>
            <a:off x="4645152" y="1354801"/>
            <a:ext cx="3419856" cy="49125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nl-BE" sz="2000" dirty="0" err="1"/>
              <a:t>Cliquez</a:t>
            </a:r>
            <a:r>
              <a:rPr lang="nl-BE" sz="2000" dirty="0"/>
              <a:t> et </a:t>
            </a:r>
            <a:r>
              <a:rPr lang="nl-BE" sz="2000" dirty="0" err="1"/>
              <a:t>modifiez</a:t>
            </a:r>
            <a:r>
              <a:rPr lang="nl-BE" sz="2000" dirty="0"/>
              <a:t> </a:t>
            </a:r>
            <a:r>
              <a:rPr lang="nl-BE" sz="2000" dirty="0" err="1"/>
              <a:t>le</a:t>
            </a:r>
            <a:r>
              <a:rPr lang="nl-BE" sz="2000" dirty="0"/>
              <a:t> </a:t>
            </a:r>
            <a:r>
              <a:rPr lang="nl-BE" sz="2000" dirty="0" err="1"/>
              <a:t>titre</a:t>
            </a:r>
            <a:endParaRPr lang="en-US" sz="20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5196246-30F4-4A2D-98D4-E1F76509ABE6}"/>
              </a:ext>
            </a:extLst>
          </p:cNvPr>
          <p:cNvSpPr txBox="1"/>
          <p:nvPr userDrawn="1"/>
        </p:nvSpPr>
        <p:spPr>
          <a:xfrm>
            <a:off x="8479767" y="6568676"/>
            <a:ext cx="6642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200" smtClean="0">
                <a:solidFill>
                  <a:srgbClr val="246372"/>
                </a:solidFill>
              </a:rPr>
              <a:pPr algn="r"/>
              <a:t>‹#›</a:t>
            </a:fld>
            <a:endParaRPr lang="fr-BE" sz="1200" dirty="0">
              <a:solidFill>
                <a:srgbClr val="246372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BB34B8A-6BDB-474B-8F1E-7755DEE4F2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6375708"/>
            <a:ext cx="4408098" cy="514579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032132F7-C281-4A54-AA7B-8F529FE9B0D0}"/>
              </a:ext>
            </a:extLst>
          </p:cNvPr>
          <p:cNvSpPr/>
          <p:nvPr userDrawn="1"/>
        </p:nvSpPr>
        <p:spPr>
          <a:xfrm>
            <a:off x="0" y="6220582"/>
            <a:ext cx="4157932" cy="63741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420564C-8EE2-47C4-A787-B7E8E4C283BC}"/>
              </a:ext>
            </a:extLst>
          </p:cNvPr>
          <p:cNvGrpSpPr/>
          <p:nvPr userDrawn="1"/>
        </p:nvGrpSpPr>
        <p:grpSpPr>
          <a:xfrm>
            <a:off x="220061" y="6314386"/>
            <a:ext cx="1082527" cy="463065"/>
            <a:chOff x="315856" y="5556741"/>
            <a:chExt cx="865210" cy="463065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6848F08-6E06-4943-9CF1-77084F9B8C40}"/>
                </a:ext>
              </a:extLst>
            </p:cNvPr>
            <p:cNvSpPr/>
            <p:nvPr/>
          </p:nvSpPr>
          <p:spPr>
            <a:xfrm>
              <a:off x="315856" y="5556741"/>
              <a:ext cx="865210" cy="45713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BEE09EC6-811B-4351-8E57-60DCD2C3B52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890" y="5577092"/>
              <a:ext cx="825058" cy="4427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480298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 avec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1A9F2FCF-7E2D-45ED-82A9-22751341EA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472" y="270748"/>
            <a:ext cx="8360086" cy="60040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nl-BE" dirty="0"/>
              <a:t>Cliquez et modifiez le titre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5FD691-54E5-4252-A5E3-489B68D18C91}"/>
              </a:ext>
            </a:extLst>
          </p:cNvPr>
          <p:cNvSpPr txBox="1"/>
          <p:nvPr userDrawn="1"/>
        </p:nvSpPr>
        <p:spPr>
          <a:xfrm>
            <a:off x="8479767" y="6568676"/>
            <a:ext cx="6642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200" smtClean="0">
                <a:solidFill>
                  <a:srgbClr val="246372"/>
                </a:solidFill>
              </a:rPr>
              <a:pPr algn="r"/>
              <a:t>‹#›</a:t>
            </a:fld>
            <a:endParaRPr lang="fr-BE" sz="1200" dirty="0">
              <a:solidFill>
                <a:srgbClr val="24637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DF27DBD-35FE-4BDB-BE8A-E8FC66D464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6375708"/>
            <a:ext cx="4408098" cy="514579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0195B968-7CC9-43C9-B1A1-B4546AC48B92}"/>
              </a:ext>
            </a:extLst>
          </p:cNvPr>
          <p:cNvSpPr/>
          <p:nvPr userDrawn="1"/>
        </p:nvSpPr>
        <p:spPr>
          <a:xfrm>
            <a:off x="0" y="6220582"/>
            <a:ext cx="4157932" cy="63741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4CB475F-9965-45EE-97DC-6EA48A816290}"/>
              </a:ext>
            </a:extLst>
          </p:cNvPr>
          <p:cNvGrpSpPr/>
          <p:nvPr userDrawn="1"/>
        </p:nvGrpSpPr>
        <p:grpSpPr>
          <a:xfrm>
            <a:off x="220061" y="6314386"/>
            <a:ext cx="1082527" cy="463065"/>
            <a:chOff x="315856" y="5556741"/>
            <a:chExt cx="865210" cy="463065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292E74B-B3D6-4FB6-A654-1E7F48393B85}"/>
                </a:ext>
              </a:extLst>
            </p:cNvPr>
            <p:cNvSpPr/>
            <p:nvPr/>
          </p:nvSpPr>
          <p:spPr>
            <a:xfrm>
              <a:off x="315856" y="5556741"/>
              <a:ext cx="865210" cy="45713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E6B06AAD-0EF5-4E0B-883D-EF71DBB2CF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890" y="5577092"/>
              <a:ext cx="825058" cy="4427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381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 - san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1A9F2FCF-7E2D-45ED-82A9-22751341EA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472" y="270748"/>
            <a:ext cx="8360086" cy="60040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nl-BE" dirty="0"/>
              <a:t>Cliquez et modifiez le titre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5FD691-54E5-4252-A5E3-489B68D18C91}"/>
              </a:ext>
            </a:extLst>
          </p:cNvPr>
          <p:cNvSpPr txBox="1"/>
          <p:nvPr userDrawn="1"/>
        </p:nvSpPr>
        <p:spPr>
          <a:xfrm>
            <a:off x="8479767" y="6568676"/>
            <a:ext cx="6642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DA4F4AD-07B2-44BB-AB9A-B8DE1A1D74C4}" type="slidenum">
              <a:rPr lang="fr-BE" sz="1200" smtClean="0">
                <a:solidFill>
                  <a:srgbClr val="246372"/>
                </a:solidFill>
              </a:rPr>
              <a:pPr algn="r"/>
              <a:t>‹#›</a:t>
            </a:fld>
            <a:endParaRPr lang="fr-BE" sz="1200" dirty="0">
              <a:solidFill>
                <a:srgbClr val="2463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50185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E11D78-5CF4-46D1-B8BB-2A8A434218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857640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8" imgW="416" imgH="416" progId="TCLayout.ActiveDocument.1">
                  <p:embed/>
                </p:oleObj>
              </mc:Choice>
              <mc:Fallback>
                <p:oleObj name="think-cell Slide" r:id="rId18" imgW="416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E11D78-5CF4-46D1-B8BB-2A8A434218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F6C8E2B-7CF3-4A47-848B-88B83A144E87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l-BE" sz="3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8472" y="270748"/>
            <a:ext cx="8360086" cy="60040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nl-BE" dirty="0" err="1"/>
              <a:t>Cliquez</a:t>
            </a:r>
            <a:r>
              <a:rPr lang="nl-BE" dirty="0"/>
              <a:t> et </a:t>
            </a:r>
            <a:r>
              <a:rPr lang="nl-BE" dirty="0" err="1"/>
              <a:t>modifiez</a:t>
            </a:r>
            <a:r>
              <a:rPr lang="nl-BE" dirty="0"/>
              <a:t> </a:t>
            </a:r>
            <a:r>
              <a:rPr lang="nl-BE" dirty="0" err="1"/>
              <a:t>le</a:t>
            </a:r>
            <a:r>
              <a:rPr lang="nl-BE" dirty="0"/>
              <a:t> </a:t>
            </a:r>
            <a:r>
              <a:rPr lang="nl-BE" dirty="0" err="1"/>
              <a:t>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8472" y="1045249"/>
            <a:ext cx="8360086" cy="51226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BE" dirty="0"/>
              <a:t>Cliquez pour modifier les styles du texte du masque</a:t>
            </a:r>
          </a:p>
          <a:p>
            <a:pPr lvl="1"/>
            <a:r>
              <a:rPr lang="nl-BE" dirty="0"/>
              <a:t>Deuxième niveau</a:t>
            </a:r>
          </a:p>
          <a:p>
            <a:pPr lvl="2"/>
            <a:r>
              <a:rPr lang="nl-BE" dirty="0"/>
              <a:t>Troisième niveau</a:t>
            </a:r>
          </a:p>
          <a:p>
            <a:pPr lvl="3"/>
            <a:r>
              <a:rPr lang="nl-BE" dirty="0"/>
              <a:t>Quatrième niveau</a:t>
            </a:r>
          </a:p>
          <a:p>
            <a:pPr lvl="4"/>
            <a:r>
              <a:rPr lang="nl-BE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4567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8" r:id="rId9"/>
    <p:sldLayoutId id="2147483681" r:id="rId10"/>
    <p:sldLayoutId id="2147483683" r:id="rId11"/>
    <p:sldLayoutId id="2147483682" r:id="rId12"/>
    <p:sldLayoutId id="2147483689" r:id="rId13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accent6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274320" algn="l" defTabSz="914400" rtl="0" eaLnBrk="1" latinLnBrk="0" hangingPunct="1">
        <a:spcBef>
          <a:spcPts val="600"/>
        </a:spcBef>
        <a:buClr>
          <a:schemeClr val="bg1">
            <a:lumMod val="50000"/>
          </a:schemeClr>
        </a:buClr>
        <a:buSzPct val="76000"/>
        <a:buFont typeface="Courier New" panose="02070309020205020404" pitchFamily="49" charset="0"/>
        <a:buChar char="o"/>
        <a:defRPr sz="1600" kern="1200">
          <a:solidFill>
            <a:srgbClr val="24213E"/>
          </a:solidFill>
          <a:latin typeface="+mn-lt"/>
          <a:ea typeface="+mn-ea"/>
          <a:cs typeface="+mn-cs"/>
        </a:defRPr>
      </a:lvl1pPr>
      <a:lvl2pPr marL="640080" indent="-274320" algn="l" defTabSz="914400" rtl="0" eaLnBrk="1" latinLnBrk="0" hangingPunct="1">
        <a:spcBef>
          <a:spcPts val="0"/>
        </a:spcBef>
        <a:buClr>
          <a:schemeClr val="bg1">
            <a:lumMod val="50000"/>
          </a:schemeClr>
        </a:buClr>
        <a:buSzPct val="76000"/>
        <a:buFont typeface="Arial" panose="020B0604020202020204" pitchFamily="34" charset="0"/>
        <a:buChar char="•"/>
        <a:defRPr sz="1400" kern="1200">
          <a:solidFill>
            <a:srgbClr val="24213E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0"/>
        </a:spcBef>
        <a:buClr>
          <a:schemeClr val="bg1">
            <a:lumMod val="50000"/>
          </a:schemeClr>
        </a:buClr>
        <a:buSzPct val="76000"/>
        <a:buFont typeface="Arial" panose="020B0604020202020204" pitchFamily="34" charset="0"/>
        <a:buChar char="•"/>
        <a:defRPr sz="1400" kern="1200">
          <a:solidFill>
            <a:srgbClr val="24213E"/>
          </a:solidFill>
          <a:latin typeface="+mn-lt"/>
          <a:ea typeface="+mn-ea"/>
          <a:cs typeface="+mn-cs"/>
        </a:defRPr>
      </a:lvl3pPr>
      <a:lvl4pPr marL="1124712" indent="-228600" algn="l" defTabSz="914400" rtl="0" eaLnBrk="1" latinLnBrk="0" hangingPunct="1">
        <a:spcBef>
          <a:spcPts val="0"/>
        </a:spcBef>
        <a:buClr>
          <a:schemeClr val="bg1">
            <a:lumMod val="50000"/>
          </a:schemeClr>
        </a:buClr>
        <a:buSzPct val="76000"/>
        <a:buFont typeface="Arial" panose="020B0604020202020204" pitchFamily="34" charset="0"/>
        <a:buChar char="•"/>
        <a:defRPr sz="1400" kern="1200">
          <a:solidFill>
            <a:srgbClr val="24213E"/>
          </a:solidFill>
          <a:latin typeface="+mn-lt"/>
          <a:ea typeface="+mn-ea"/>
          <a:cs typeface="+mn-cs"/>
        </a:defRPr>
      </a:lvl4pPr>
      <a:lvl5pPr marL="1325880" indent="-228600" algn="l" defTabSz="914400" rtl="0" eaLnBrk="1" latinLnBrk="0" hangingPunct="1">
        <a:spcBef>
          <a:spcPts val="0"/>
        </a:spcBef>
        <a:buClr>
          <a:schemeClr val="bg1">
            <a:lumMod val="50000"/>
          </a:schemeClr>
        </a:buClr>
        <a:buSzPct val="76000"/>
        <a:buFont typeface="Arial" panose="020B0604020202020204" pitchFamily="34" charset="0"/>
        <a:buChar char="•"/>
        <a:defRPr sz="1400" kern="1200" baseline="0">
          <a:solidFill>
            <a:srgbClr val="24213E"/>
          </a:solidFill>
          <a:latin typeface="+mn-lt"/>
          <a:ea typeface="+mn-ea"/>
          <a:cs typeface="+mn-cs"/>
        </a:defRPr>
      </a:lvl5pPr>
      <a:lvl6pPr marL="1517904" indent="-228600" algn="l" defTabSz="914400" rtl="0" eaLnBrk="1" latinLnBrk="0" hangingPunct="1">
        <a:spcBef>
          <a:spcPct val="20000"/>
        </a:spcBef>
        <a:buClr>
          <a:schemeClr val="accent1"/>
        </a:buClr>
        <a:buSzPct val="76000"/>
        <a:buFont typeface="Wingdings 2" pitchFamily="18" charset="2"/>
        <a:buChar char="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719072" indent="-228600" algn="l" defTabSz="914400" rtl="0" eaLnBrk="1" latinLnBrk="0" hangingPunct="1">
        <a:spcBef>
          <a:spcPct val="20000"/>
        </a:spcBef>
        <a:buClr>
          <a:schemeClr val="accent1"/>
        </a:buClr>
        <a:buSzPct val="76000"/>
        <a:buFont typeface="Wingdings 2" pitchFamily="18" charset="2"/>
        <a:buChar char="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920240" indent="-228600" algn="l" defTabSz="914400" rtl="0" eaLnBrk="1" latinLnBrk="0" hangingPunct="1">
        <a:spcBef>
          <a:spcPct val="20000"/>
        </a:spcBef>
        <a:buClr>
          <a:schemeClr val="accent1"/>
        </a:buClr>
        <a:buSzPct val="76000"/>
        <a:buFont typeface="Wingdings 2" pitchFamily="18" charset="2"/>
        <a:buChar char="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2121408" indent="-228600" algn="l" defTabSz="914400" rtl="0" eaLnBrk="1" latinLnBrk="0" hangingPunct="1">
        <a:spcBef>
          <a:spcPct val="20000"/>
        </a:spcBef>
        <a:buClr>
          <a:schemeClr val="accent1"/>
        </a:buClr>
        <a:buSzPct val="76000"/>
        <a:buFont typeface="Wingdings 2" pitchFamily="18" charset="2"/>
        <a:buChar char="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10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4.jp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18.xml"/><Relationship Id="rId7" Type="http://schemas.openxmlformats.org/officeDocument/2006/relationships/image" Target="../media/image14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7.xml"/><Relationship Id="rId7" Type="http://schemas.openxmlformats.org/officeDocument/2006/relationships/image" Target="../media/image14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18.sv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20.sv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4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20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4.svg"/><Relationship Id="rId11" Type="http://schemas.openxmlformats.org/officeDocument/2006/relationships/image" Target="../media/image19.png"/><Relationship Id="rId5" Type="http://schemas.openxmlformats.org/officeDocument/2006/relationships/image" Target="../media/image23.png"/><Relationship Id="rId10" Type="http://schemas.openxmlformats.org/officeDocument/2006/relationships/image" Target="../media/image28.svg"/><Relationship Id="rId4" Type="http://schemas.openxmlformats.org/officeDocument/2006/relationships/image" Target="../media/image22.svg"/><Relationship Id="rId9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15.xml"/><Relationship Id="rId7" Type="http://schemas.openxmlformats.org/officeDocument/2006/relationships/image" Target="../media/image14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2B202176-7098-4E53-84CB-AD2E746DA3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0867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6350000" imgH="6350000" progId="TCLayout.ActiveDocument.1">
                  <p:embed/>
                </p:oleObj>
              </mc:Choice>
              <mc:Fallback>
                <p:oleObj name="think-cell Slide" r:id="rId6" imgW="6350000" imgH="635000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2B202176-7098-4E53-84CB-AD2E746DA35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F058AD2C-F4AE-4070-90AA-058A93D3E1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r-FR" sz="2800" b="1" i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4E1D14E-747D-4185-B3B3-0BF9CB6E23D9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64440"/>
            <a:ext cx="9144000" cy="465050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5B1B81D-377E-40AD-B602-BAD1110D13F8}"/>
              </a:ext>
            </a:extLst>
          </p:cNvPr>
          <p:cNvSpPr/>
          <p:nvPr/>
        </p:nvSpPr>
        <p:spPr>
          <a:xfrm>
            <a:off x="18904" y="1764439"/>
            <a:ext cx="9144000" cy="5005815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16215277-8679-45AA-9AA9-111C3A77EA27}"/>
              </a:ext>
            </a:extLst>
          </p:cNvPr>
          <p:cNvSpPr txBox="1">
            <a:spLocks/>
          </p:cNvSpPr>
          <p:nvPr/>
        </p:nvSpPr>
        <p:spPr>
          <a:xfrm>
            <a:off x="856427" y="1981660"/>
            <a:ext cx="7024744" cy="183381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5400" b="1" i="1" u="none" strike="noStrike" kern="1200" cap="none" spc="0" normalizeH="0" baseline="0" noProof="0" dirty="0">
              <a:ln>
                <a:noFill/>
              </a:ln>
              <a:solidFill>
                <a:srgbClr val="CC5439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75FF0D87-116F-4C1F-A1F3-E8B6E0B97CCE}"/>
              </a:ext>
            </a:extLst>
          </p:cNvPr>
          <p:cNvSpPr txBox="1">
            <a:spLocks/>
          </p:cNvSpPr>
          <p:nvPr/>
        </p:nvSpPr>
        <p:spPr>
          <a:xfrm>
            <a:off x="856427" y="4345806"/>
            <a:ext cx="8752953" cy="82383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5400" b="1" i="0" u="none" strike="noStrike" kern="1200" cap="none" spc="0" normalizeH="0" baseline="0" noProof="0" dirty="0">
                <a:ln>
                  <a:noFill/>
                </a:ln>
                <a:solidFill>
                  <a:srgbClr val="246372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Nutrithérapie et Immunité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905BAD3-4153-4B91-854D-F2F01185B0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26434" y="5387586"/>
            <a:ext cx="7190293" cy="922842"/>
          </a:xfrm>
        </p:spPr>
        <p:txBody>
          <a:bodyPr/>
          <a:lstStyle/>
          <a:p>
            <a:pPr lvl="0">
              <a:defRPr/>
            </a:pPr>
            <a:r>
              <a:rPr lang="fr-FR" sz="2800" dirty="0">
                <a:solidFill>
                  <a:srgbClr val="CC5439"/>
                </a:solidFill>
              </a:rPr>
              <a:t>Comment booster votre système immunitaire ?</a:t>
            </a:r>
            <a:endParaRPr lang="fr-BE" sz="28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C24401D-36C1-4DCA-A74C-A122CCB18F8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-137370" y="87746"/>
            <a:ext cx="7931583" cy="543810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D18E222-1FA9-4D48-8B0A-56D35C2FD48F}"/>
              </a:ext>
            </a:extLst>
          </p:cNvPr>
          <p:cNvSpPr txBox="1"/>
          <p:nvPr/>
        </p:nvSpPr>
        <p:spPr>
          <a:xfrm>
            <a:off x="18904" y="6541613"/>
            <a:ext cx="17082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200" i="1" dirty="0"/>
              <a:t>Version 07-Nov-2020</a:t>
            </a:r>
          </a:p>
        </p:txBody>
      </p:sp>
    </p:spTree>
    <p:extLst>
      <p:ext uri="{BB962C8B-B14F-4D97-AF65-F5344CB8AC3E}">
        <p14:creationId xmlns:p14="http://schemas.microsoft.com/office/powerpoint/2010/main" val="9385673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brush&#10;&#10;Description automatically generated">
            <a:extLst>
              <a:ext uri="{FF2B5EF4-FFF2-40B4-BE49-F238E27FC236}">
                <a16:creationId xmlns:a16="http://schemas.microsoft.com/office/drawing/2014/main" id="{061FAFE7-F9D0-49B9-B92B-943637ADCFFB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9540" y="1786003"/>
            <a:ext cx="1668965" cy="125172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1A086B9-8E9C-4911-B287-D78EF631F357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1192461">
            <a:off x="1164771" y="2591146"/>
            <a:ext cx="1304657" cy="142658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32FC3F7-177D-4778-B86A-C549A9980A79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748505" y="5541744"/>
            <a:ext cx="1717004" cy="96319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3926E6B-6C33-4417-B0A0-02A61DCA3E9A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18895051">
            <a:off x="3277863" y="966073"/>
            <a:ext cx="1304657" cy="1426588"/>
          </a:xfrm>
          <a:prstGeom prst="rect">
            <a:avLst/>
          </a:prstGeom>
        </p:spPr>
      </p:pic>
      <p:pic>
        <p:nvPicPr>
          <p:cNvPr id="6" name="Picture 5" descr="A picture containing brush&#10;&#10;Description automatically generated">
            <a:extLst>
              <a:ext uri="{FF2B5EF4-FFF2-40B4-BE49-F238E27FC236}">
                <a16:creationId xmlns:a16="http://schemas.microsoft.com/office/drawing/2014/main" id="{D780BC91-B9E5-4FD0-90BD-884812D7B2E3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1438" y="200967"/>
            <a:ext cx="1304657" cy="97849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7127070-40C0-45B4-B3E8-E2CB57A5F8E0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91294" y="474342"/>
            <a:ext cx="2200144" cy="180289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1479CFB-D333-46FF-8963-A4E68C6DC8B9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4248659">
            <a:off x="1834373" y="5154380"/>
            <a:ext cx="1304657" cy="1426588"/>
          </a:xfrm>
          <a:prstGeom prst="rect">
            <a:avLst/>
          </a:prstGeom>
        </p:spPr>
      </p:pic>
      <p:sp>
        <p:nvSpPr>
          <p:cNvPr id="19" name="Rectangle 1">
            <a:extLst>
              <a:ext uri="{FF2B5EF4-FFF2-40B4-BE49-F238E27FC236}">
                <a16:creationId xmlns:a16="http://schemas.microsoft.com/office/drawing/2014/main" id="{B67AB779-ACBD-49E3-B45D-86091BCAAB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6728" y="4238896"/>
            <a:ext cx="4090150" cy="703321"/>
          </a:xfrm>
          <a:prstGeom prst="rect">
            <a:avLst/>
          </a:prstGeom>
          <a:solidFill>
            <a:srgbClr val="8BA35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BE" dirty="0"/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1C9AD42A-753D-431B-BFD4-D0F5224053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6728" y="2277239"/>
            <a:ext cx="1869463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BE" altLang="fr-FR" sz="6000" b="0" i="0" u="none" strike="noStrike" cap="none" normalizeH="0" baseline="0" dirty="0" bmk="_Hlk17197824">
                <a:ln>
                  <a:noFill/>
                </a:ln>
                <a:solidFill>
                  <a:schemeClr val="tx1"/>
                </a:solidFill>
                <a:effectLst/>
                <a:latin typeface="Gill Sans Nova Cond Lt" panose="020B0306020104020203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RTIE 2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5C09D212-D02B-49AE-9931-557B718C6C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6728" y="3156180"/>
            <a:ext cx="4170537" cy="1938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BE" altLang="fr-FR" sz="6000" b="0" i="0" u="none" strike="noStrike" cap="none" normalizeH="0" baseline="0" dirty="0" bmk="_Hlk17197824">
                <a:ln>
                  <a:noFill/>
                </a:ln>
                <a:effectLst/>
                <a:latin typeface="Gill Sans Nova Cond Lt" panose="020B0306020104020203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ÉCOUVRIR LES </a:t>
            </a:r>
            <a:r>
              <a:rPr kumimoji="0" lang="fr-BE" altLang="fr-FR" sz="6000" b="0" i="0" u="none" strike="noStrike" cap="none" normalizeH="0" baseline="0" dirty="0" bmk="_Hlk17197824">
                <a:ln>
                  <a:noFill/>
                </a:ln>
                <a:solidFill>
                  <a:schemeClr val="bg1"/>
                </a:solidFill>
                <a:effectLst/>
                <a:latin typeface="Gill Sans Nova Cond Lt" panose="020B0306020104020203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ISTES DE SOLUTIONS</a:t>
            </a:r>
          </a:p>
        </p:txBody>
      </p:sp>
    </p:spTree>
    <p:extLst>
      <p:ext uri="{BB962C8B-B14F-4D97-AF65-F5344CB8AC3E}">
        <p14:creationId xmlns:p14="http://schemas.microsoft.com/office/powerpoint/2010/main" val="11466192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DA82C5B-E578-42B2-9898-A11A41DC52F0}"/>
              </a:ext>
            </a:extLst>
          </p:cNvPr>
          <p:cNvSpPr txBox="1"/>
          <p:nvPr/>
        </p:nvSpPr>
        <p:spPr>
          <a:xfrm>
            <a:off x="3522951" y="4506379"/>
            <a:ext cx="1591252" cy="8768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BE" sz="2000" b="1" dirty="0">
                <a:solidFill>
                  <a:srgbClr val="000000"/>
                </a:solidFill>
              </a:rPr>
              <a:t>Eviter sucres</a:t>
            </a:r>
          </a:p>
          <a:p>
            <a:pPr algn="ctr">
              <a:spcBef>
                <a:spcPts val="600"/>
              </a:spcBef>
            </a:pPr>
            <a:r>
              <a:rPr lang="fr-BE" sz="1600" dirty="0">
                <a:solidFill>
                  <a:srgbClr val="000000"/>
                </a:solidFill>
                <a:sym typeface="Wingdings" panose="05000000000000000000" pitchFamily="2" charset="2"/>
              </a:rPr>
              <a:t>Privilégier les glucides à faible IG</a:t>
            </a:r>
            <a:endParaRPr lang="fr-BE" sz="1600" dirty="0">
              <a:solidFill>
                <a:srgbClr val="000000"/>
              </a:solidFill>
            </a:endParaRPr>
          </a:p>
          <a:p>
            <a:pPr algn="ctr"/>
            <a:endParaRPr lang="fr-BE" sz="1600" dirty="0">
              <a:solidFill>
                <a:srgbClr val="00000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A781ADD-94F8-4980-8973-807DD645B39D}"/>
              </a:ext>
            </a:extLst>
          </p:cNvPr>
          <p:cNvSpPr txBox="1"/>
          <p:nvPr/>
        </p:nvSpPr>
        <p:spPr>
          <a:xfrm>
            <a:off x="5496695" y="4125862"/>
            <a:ext cx="3248719" cy="11774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BE" sz="2000" b="1" dirty="0">
                <a:solidFill>
                  <a:srgbClr val="000000"/>
                </a:solidFill>
              </a:rPr>
              <a:t>Contrôle de l’inflammation</a:t>
            </a:r>
          </a:p>
          <a:p>
            <a:pPr>
              <a:spcBef>
                <a:spcPts val="600"/>
              </a:spcBef>
            </a:pPr>
            <a:r>
              <a:rPr lang="fr-BE" sz="1600" dirty="0">
                <a:solidFill>
                  <a:srgbClr val="000000"/>
                </a:solidFill>
                <a:sym typeface="Wingdings" panose="05000000000000000000" pitchFamily="2" charset="2"/>
              </a:rPr>
              <a:t>Favoriser une alimentation anti-inflammatoire et éviter celle pro-inflammatoire</a:t>
            </a:r>
            <a:endParaRPr lang="fr-BE" sz="1600" dirty="0">
              <a:solidFill>
                <a:srgbClr val="000000"/>
              </a:solidFill>
            </a:endParaRPr>
          </a:p>
          <a:p>
            <a:endParaRPr lang="fr-BE" sz="1600" dirty="0">
              <a:solidFill>
                <a:srgbClr val="00000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B7D8B13-7C1B-4A85-9325-5E6550EA73CF}"/>
              </a:ext>
            </a:extLst>
          </p:cNvPr>
          <p:cNvSpPr txBox="1"/>
          <p:nvPr/>
        </p:nvSpPr>
        <p:spPr>
          <a:xfrm>
            <a:off x="632264" y="4198353"/>
            <a:ext cx="2655518" cy="8768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fr-BE" sz="2000" b="1" dirty="0">
                <a:solidFill>
                  <a:srgbClr val="000000"/>
                </a:solidFill>
              </a:rPr>
              <a:t>Gestion du stress</a:t>
            </a:r>
          </a:p>
          <a:p>
            <a:pPr algn="r">
              <a:spcBef>
                <a:spcPts val="600"/>
              </a:spcBef>
            </a:pPr>
            <a:r>
              <a:rPr lang="fr-BE" sz="1600" dirty="0">
                <a:solidFill>
                  <a:srgbClr val="000000"/>
                </a:solidFill>
                <a:sym typeface="Wingdings" panose="05000000000000000000" pitchFamily="2" charset="2"/>
              </a:rPr>
              <a:t>Magnésium</a:t>
            </a:r>
            <a:endParaRPr lang="fr-BE" sz="1600" dirty="0">
              <a:solidFill>
                <a:srgbClr val="000000"/>
              </a:solidFill>
            </a:endParaRPr>
          </a:p>
          <a:p>
            <a:endParaRPr lang="fr-BE" sz="1600" dirty="0">
              <a:solidFill>
                <a:srgbClr val="0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503E65-2B06-4233-A6EF-D5C4EAF10DB3}"/>
              </a:ext>
            </a:extLst>
          </p:cNvPr>
          <p:cNvSpPr txBox="1"/>
          <p:nvPr/>
        </p:nvSpPr>
        <p:spPr>
          <a:xfrm>
            <a:off x="4119401" y="1214654"/>
            <a:ext cx="4315897" cy="9641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BE" sz="2000" b="1" dirty="0">
                <a:solidFill>
                  <a:srgbClr val="000000"/>
                </a:solidFill>
              </a:rPr>
              <a:t>Nutriments clés</a:t>
            </a:r>
          </a:p>
          <a:p>
            <a:pPr>
              <a:spcBef>
                <a:spcPts val="600"/>
              </a:spcBef>
            </a:pPr>
            <a:r>
              <a:rPr lang="fr-BE" sz="1600" b="1" dirty="0">
                <a:solidFill>
                  <a:srgbClr val="000000"/>
                </a:solidFill>
              </a:rPr>
              <a:t>Zinc</a:t>
            </a:r>
            <a:r>
              <a:rPr lang="fr-BE" sz="1600" dirty="0">
                <a:solidFill>
                  <a:srgbClr val="000000"/>
                </a:solidFill>
              </a:rPr>
              <a:t>, </a:t>
            </a:r>
            <a:r>
              <a:rPr lang="fr-BE" sz="1600" b="1" dirty="0">
                <a:solidFill>
                  <a:srgbClr val="000000"/>
                </a:solidFill>
              </a:rPr>
              <a:t>Vit D</a:t>
            </a:r>
            <a:r>
              <a:rPr lang="fr-BE" sz="1600" dirty="0">
                <a:solidFill>
                  <a:srgbClr val="000000"/>
                </a:solidFill>
              </a:rPr>
              <a:t> (sérologie 50-60 </a:t>
            </a:r>
            <a:r>
              <a:rPr lang="fr-BE" sz="1600" dirty="0" err="1">
                <a:solidFill>
                  <a:srgbClr val="000000"/>
                </a:solidFill>
              </a:rPr>
              <a:t>ng</a:t>
            </a:r>
            <a:r>
              <a:rPr lang="fr-BE" sz="1600" dirty="0">
                <a:solidFill>
                  <a:srgbClr val="000000"/>
                </a:solidFill>
              </a:rPr>
              <a:t>/</a:t>
            </a:r>
            <a:r>
              <a:rPr lang="fr-BE" sz="1600" dirty="0" err="1">
                <a:solidFill>
                  <a:srgbClr val="000000"/>
                </a:solidFill>
              </a:rPr>
              <a:t>mL</a:t>
            </a:r>
            <a:r>
              <a:rPr lang="fr-BE" sz="1600" dirty="0">
                <a:solidFill>
                  <a:srgbClr val="000000"/>
                </a:solidFill>
              </a:rPr>
              <a:t>), antioxydants </a:t>
            </a:r>
            <a:br>
              <a:rPr lang="fr-BE" sz="1600" dirty="0">
                <a:solidFill>
                  <a:srgbClr val="000000"/>
                </a:solidFill>
              </a:rPr>
            </a:br>
            <a:r>
              <a:rPr lang="fr-BE" sz="1600" dirty="0">
                <a:solidFill>
                  <a:srgbClr val="000000"/>
                </a:solidFill>
              </a:rPr>
              <a:t>(</a:t>
            </a:r>
            <a:r>
              <a:rPr lang="fr-BE" sz="1600" b="1" dirty="0">
                <a:solidFill>
                  <a:srgbClr val="000000"/>
                </a:solidFill>
              </a:rPr>
              <a:t>Vit C</a:t>
            </a:r>
            <a:r>
              <a:rPr lang="fr-BE" sz="1600" dirty="0">
                <a:solidFill>
                  <a:srgbClr val="000000"/>
                </a:solidFill>
              </a:rPr>
              <a:t>, E, </a:t>
            </a:r>
            <a:r>
              <a:rPr lang="fr-BE" sz="1600" dirty="0">
                <a:solidFill>
                  <a:srgbClr val="000000"/>
                </a:solidFill>
                <a:latin typeface="Symbol" panose="05050102010706020507" pitchFamily="18" charset="2"/>
              </a:rPr>
              <a:t>b</a:t>
            </a:r>
            <a:r>
              <a:rPr lang="fr-BE" sz="1600" dirty="0">
                <a:solidFill>
                  <a:srgbClr val="000000"/>
                </a:solidFill>
              </a:rPr>
              <a:t>-carotène, sélénium, polyphénols, </a:t>
            </a:r>
            <a:r>
              <a:rPr lang="fr-BE" sz="1600" b="1" dirty="0">
                <a:solidFill>
                  <a:srgbClr val="000000"/>
                </a:solidFill>
              </a:rPr>
              <a:t>NAC</a:t>
            </a:r>
            <a:r>
              <a:rPr lang="fr-BE" sz="1600" dirty="0">
                <a:solidFill>
                  <a:srgbClr val="000000"/>
                </a:solidFill>
              </a:rPr>
              <a:t>…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D35C535-F06A-43A3-82E5-A794EE8871CE}"/>
              </a:ext>
            </a:extLst>
          </p:cNvPr>
          <p:cNvSpPr txBox="1"/>
          <p:nvPr/>
        </p:nvSpPr>
        <p:spPr>
          <a:xfrm>
            <a:off x="472555" y="548206"/>
            <a:ext cx="8198890" cy="5665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BE" sz="2800" b="1" dirty="0">
                <a:solidFill>
                  <a:schemeClr val="accent5">
                    <a:lumMod val="50000"/>
                  </a:schemeClr>
                </a:solidFill>
              </a:rPr>
              <a:t>Optimiser les acteurs de l’immunité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799668A-CE02-4D3B-AB08-D2BD5C7F061B}"/>
              </a:ext>
            </a:extLst>
          </p:cNvPr>
          <p:cNvSpPr txBox="1"/>
          <p:nvPr/>
        </p:nvSpPr>
        <p:spPr>
          <a:xfrm>
            <a:off x="6413211" y="2617874"/>
            <a:ext cx="2258234" cy="8761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600"/>
              </a:spcBef>
            </a:pPr>
            <a:r>
              <a:rPr lang="fr-BE" sz="2000" b="1" dirty="0">
                <a:solidFill>
                  <a:srgbClr val="000000"/>
                </a:solidFill>
              </a:rPr>
              <a:t>Santé de l’intestin et du microbiote </a:t>
            </a:r>
          </a:p>
          <a:p>
            <a:pPr>
              <a:spcBef>
                <a:spcPts val="600"/>
              </a:spcBef>
            </a:pPr>
            <a:r>
              <a:rPr lang="fr-BE" sz="1600" dirty="0">
                <a:solidFill>
                  <a:srgbClr val="000000"/>
                </a:solidFill>
              </a:rPr>
              <a:t>(fibres, probiotiques, Vit D, magnésium, glutamine…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F4B71BC-0713-45C7-9ACD-C45A22A35050}"/>
              </a:ext>
            </a:extLst>
          </p:cNvPr>
          <p:cNvSpPr txBox="1"/>
          <p:nvPr/>
        </p:nvSpPr>
        <p:spPr>
          <a:xfrm>
            <a:off x="862144" y="1397236"/>
            <a:ext cx="2425638" cy="7232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fr-BE" sz="2000" b="1" dirty="0">
                <a:solidFill>
                  <a:srgbClr val="000000"/>
                </a:solidFill>
              </a:rPr>
              <a:t>Energie, sommeil </a:t>
            </a:r>
          </a:p>
          <a:p>
            <a:pPr marL="87313" algn="r">
              <a:spcBef>
                <a:spcPts val="600"/>
              </a:spcBef>
            </a:pPr>
            <a:r>
              <a:rPr lang="fr-BE" sz="1600" dirty="0">
                <a:solidFill>
                  <a:srgbClr val="000000"/>
                </a:solidFill>
                <a:sym typeface="Wingdings" panose="05000000000000000000" pitchFamily="2" charset="2"/>
              </a:rPr>
              <a:t>Vit B, magnésium, répartition des calories</a:t>
            </a:r>
            <a:endParaRPr lang="fr-BE" sz="1600" dirty="0">
              <a:solidFill>
                <a:srgbClr val="00000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9511492-600F-4995-9441-9C9425B1F101}"/>
              </a:ext>
            </a:extLst>
          </p:cNvPr>
          <p:cNvSpPr txBox="1"/>
          <p:nvPr/>
        </p:nvSpPr>
        <p:spPr>
          <a:xfrm>
            <a:off x="472555" y="2621509"/>
            <a:ext cx="2240041" cy="10521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</a:pPr>
            <a:r>
              <a:rPr lang="fr-BE" sz="2000" b="1" dirty="0">
                <a:solidFill>
                  <a:srgbClr val="000000"/>
                </a:solidFill>
              </a:rPr>
              <a:t>Activités physiques aérobies </a:t>
            </a:r>
          </a:p>
          <a:p>
            <a:pPr algn="r">
              <a:spcBef>
                <a:spcPts val="600"/>
              </a:spcBef>
            </a:pPr>
            <a:r>
              <a:rPr lang="fr-BE" sz="1600" dirty="0">
                <a:solidFill>
                  <a:srgbClr val="000000"/>
                </a:solidFill>
              </a:rPr>
              <a:t>(muscle = réservoir à glutamine, mitochondries)</a:t>
            </a:r>
          </a:p>
          <a:p>
            <a:pPr algn="r"/>
            <a:endParaRPr lang="fr-BE" sz="1600" dirty="0">
              <a:solidFill>
                <a:srgbClr val="000000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3065A64-6716-4D52-A54D-3049C14632C1}"/>
              </a:ext>
            </a:extLst>
          </p:cNvPr>
          <p:cNvGrpSpPr/>
          <p:nvPr/>
        </p:nvGrpSpPr>
        <p:grpSpPr>
          <a:xfrm>
            <a:off x="3072033" y="2170226"/>
            <a:ext cx="2999934" cy="2202116"/>
            <a:chOff x="2832185" y="2162349"/>
            <a:chExt cx="2999934" cy="2202116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5208FE6-9410-43AE-9BBE-ABD842378E83}"/>
                </a:ext>
              </a:extLst>
            </p:cNvPr>
            <p:cNvCxnSpPr>
              <a:cxnSpLocks/>
              <a:stCxn id="12" idx="0"/>
            </p:cNvCxnSpPr>
            <p:nvPr/>
          </p:nvCxnSpPr>
          <p:spPr>
            <a:xfrm flipH="1" flipV="1">
              <a:off x="4298120" y="3518069"/>
              <a:ext cx="3402" cy="558396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5210370-73C8-4EE7-A0BA-A9BF197703C2}"/>
                </a:ext>
              </a:extLst>
            </p:cNvPr>
            <p:cNvSpPr/>
            <p:nvPr/>
          </p:nvSpPr>
          <p:spPr>
            <a:xfrm>
              <a:off x="4157522" y="4076465"/>
              <a:ext cx="288000" cy="28800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/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8D366E9B-5ACC-462F-8CD8-A1E361FFB73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76619" y="3574680"/>
              <a:ext cx="202384" cy="424343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AFC8ECBB-507F-4C97-9578-C4955A23F3FD}"/>
                </a:ext>
              </a:extLst>
            </p:cNvPr>
            <p:cNvSpPr/>
            <p:nvPr/>
          </p:nvSpPr>
          <p:spPr>
            <a:xfrm>
              <a:off x="4811572" y="3929011"/>
              <a:ext cx="258402" cy="28800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/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8BADD584-FB83-43CC-A8C1-42D53F5A8B4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58781" y="3505176"/>
              <a:ext cx="266275" cy="493847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59788400-E82D-40A7-B56A-7CD45CEF09E1}"/>
                </a:ext>
              </a:extLst>
            </p:cNvPr>
            <p:cNvSpPr/>
            <p:nvPr/>
          </p:nvSpPr>
          <p:spPr>
            <a:xfrm>
              <a:off x="3430426" y="3909260"/>
              <a:ext cx="288000" cy="28800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/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7D80E86A-D911-4D67-96F5-40445F0DCE19}"/>
                </a:ext>
              </a:extLst>
            </p:cNvPr>
            <p:cNvCxnSpPr>
              <a:cxnSpLocks/>
              <a:stCxn id="26" idx="6"/>
            </p:cNvCxnSpPr>
            <p:nvPr/>
          </p:nvCxnSpPr>
          <p:spPr>
            <a:xfrm>
              <a:off x="3120185" y="3222323"/>
              <a:ext cx="335195" cy="0"/>
            </a:xfrm>
            <a:prstGeom prst="line">
              <a:avLst/>
            </a:prstGeom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239021E-161C-46E5-8539-7946CE37C170}"/>
                </a:ext>
              </a:extLst>
            </p:cNvPr>
            <p:cNvCxnSpPr>
              <a:cxnSpLocks/>
              <a:endCxn id="24" idx="2"/>
            </p:cNvCxnSpPr>
            <p:nvPr/>
          </p:nvCxnSpPr>
          <p:spPr>
            <a:xfrm flipV="1">
              <a:off x="5327971" y="3162851"/>
              <a:ext cx="216148" cy="12497"/>
            </a:xfrm>
            <a:prstGeom prst="line">
              <a:avLst/>
            </a:prstGeom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CFCBB8B9-A4DE-4612-8EBE-383443B8FF42}"/>
                </a:ext>
              </a:extLst>
            </p:cNvPr>
            <p:cNvCxnSpPr>
              <a:cxnSpLocks/>
            </p:cNvCxnSpPr>
            <p:nvPr/>
          </p:nvCxnSpPr>
          <p:spPr>
            <a:xfrm>
              <a:off x="3569439" y="2329260"/>
              <a:ext cx="267935" cy="509080"/>
            </a:xfrm>
            <a:prstGeom prst="line">
              <a:avLst/>
            </a:prstGeom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DCEAF9B-1BA6-4BE3-AE10-3E2FFB62D04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01714" y="2396797"/>
              <a:ext cx="239513" cy="441543"/>
            </a:xfrm>
            <a:prstGeom prst="line">
              <a:avLst/>
            </a:prstGeom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D7DA94B-A599-487F-AA21-60D9087D8351}"/>
                </a:ext>
              </a:extLst>
            </p:cNvPr>
            <p:cNvSpPr/>
            <p:nvPr/>
          </p:nvSpPr>
          <p:spPr>
            <a:xfrm>
              <a:off x="3336333" y="2655518"/>
              <a:ext cx="1991638" cy="1039660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079CBDD-C1B0-40A9-BB5B-ABAD46719F69}"/>
                </a:ext>
              </a:extLst>
            </p:cNvPr>
            <p:cNvSpPr txBox="1"/>
            <p:nvPr/>
          </p:nvSpPr>
          <p:spPr>
            <a:xfrm>
              <a:off x="3455380" y="3003117"/>
              <a:ext cx="1753644" cy="4384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fr-BE" sz="2000" b="1" dirty="0">
                  <a:solidFill>
                    <a:schemeClr val="bg1"/>
                  </a:solidFill>
                </a:rPr>
                <a:t>IMMUNITE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31EEC29D-D2AE-4EB6-A27E-9BDD8C54E624}"/>
                </a:ext>
              </a:extLst>
            </p:cNvPr>
            <p:cNvSpPr/>
            <p:nvPr/>
          </p:nvSpPr>
          <p:spPr>
            <a:xfrm>
              <a:off x="4968902" y="2185260"/>
              <a:ext cx="288000" cy="288000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24B2417F-2613-4B63-9F4C-79220AB8EC58}"/>
                </a:ext>
              </a:extLst>
            </p:cNvPr>
            <p:cNvSpPr/>
            <p:nvPr/>
          </p:nvSpPr>
          <p:spPr>
            <a:xfrm>
              <a:off x="5544119" y="3018851"/>
              <a:ext cx="288000" cy="288000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B02BA0AE-C127-4F9C-90AF-E67CF35AD38A}"/>
                </a:ext>
              </a:extLst>
            </p:cNvPr>
            <p:cNvSpPr/>
            <p:nvPr/>
          </p:nvSpPr>
          <p:spPr>
            <a:xfrm>
              <a:off x="3432430" y="2162349"/>
              <a:ext cx="288000" cy="288000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DB036310-2E0C-465C-B297-317FF6915A06}"/>
                </a:ext>
              </a:extLst>
            </p:cNvPr>
            <p:cNvSpPr/>
            <p:nvPr/>
          </p:nvSpPr>
          <p:spPr>
            <a:xfrm>
              <a:off x="2832185" y="3078323"/>
              <a:ext cx="288000" cy="288000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72EC78AC-FD32-4CD8-88D1-04916520C57A}"/>
              </a:ext>
            </a:extLst>
          </p:cNvPr>
          <p:cNvSpPr txBox="1"/>
          <p:nvPr/>
        </p:nvSpPr>
        <p:spPr>
          <a:xfrm>
            <a:off x="1433696" y="5651275"/>
            <a:ext cx="6276608" cy="5665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BE" sz="2800" b="1" dirty="0">
                <a:solidFill>
                  <a:schemeClr val="accent1"/>
                </a:solidFill>
              </a:rPr>
              <a:t>Contrôler les immunodépresseurs</a:t>
            </a:r>
          </a:p>
        </p:txBody>
      </p:sp>
    </p:spTree>
    <p:extLst>
      <p:ext uri="{BB962C8B-B14F-4D97-AF65-F5344CB8AC3E}">
        <p14:creationId xmlns:p14="http://schemas.microsoft.com/office/powerpoint/2010/main" val="24760885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6C1B9C1-22C5-4435-A485-F9DED5E003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6C1B9C1-22C5-4435-A485-F9DED5E003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E1980F1C-FF07-4D70-9886-7BAD2BA7AB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7DDA958-0BAF-43DC-85D7-303E10BB1D97}"/>
              </a:ext>
            </a:extLst>
          </p:cNvPr>
          <p:cNvSpPr txBox="1"/>
          <p:nvPr/>
        </p:nvSpPr>
        <p:spPr>
          <a:xfrm>
            <a:off x="3429000" y="153681"/>
            <a:ext cx="5586984" cy="5816977"/>
          </a:xfrm>
          <a:prstGeom prst="rect">
            <a:avLst/>
          </a:prstGeom>
          <a:solidFill>
            <a:schemeClr val="bg1"/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fr-BE" sz="2400" dirty="0"/>
          </a:p>
          <a:p>
            <a:pPr marL="85725"/>
            <a:r>
              <a:rPr lang="fr-BE" sz="2400" dirty="0">
                <a:solidFill>
                  <a:srgbClr val="000000"/>
                </a:solidFill>
              </a:rPr>
              <a:t>Un petit déjeuner ‘sucré’ (type tartines de confiture ou choco ou croissant…), </a:t>
            </a:r>
          </a:p>
          <a:p>
            <a:pPr marL="268288" indent="-182563"/>
            <a:r>
              <a:rPr lang="fr-BE" sz="2400" dirty="0">
                <a:solidFill>
                  <a:srgbClr val="000000"/>
                </a:solidFill>
              </a:rPr>
              <a:t>+ une collation dans la matinée ‘sucrée’ (style mars et autres friandises), </a:t>
            </a:r>
          </a:p>
          <a:p>
            <a:pPr marL="268288" indent="-182563"/>
            <a:r>
              <a:rPr lang="fr-BE" sz="2400" dirty="0">
                <a:solidFill>
                  <a:srgbClr val="000000"/>
                </a:solidFill>
              </a:rPr>
              <a:t>+ un repas de midi style ‘dagobert’ </a:t>
            </a:r>
            <a:br>
              <a:rPr lang="fr-BE" sz="2400" dirty="0">
                <a:solidFill>
                  <a:srgbClr val="000000"/>
                </a:solidFill>
              </a:rPr>
            </a:br>
            <a:r>
              <a:rPr lang="fr-BE" sz="2400" dirty="0">
                <a:solidFill>
                  <a:srgbClr val="000000"/>
                </a:solidFill>
              </a:rPr>
              <a:t>(=28 sucres), </a:t>
            </a:r>
          </a:p>
          <a:p>
            <a:pPr marL="85725"/>
            <a:r>
              <a:rPr lang="fr-BE" sz="2400" dirty="0">
                <a:solidFill>
                  <a:srgbClr val="000000"/>
                </a:solidFill>
              </a:rPr>
              <a:t>+ une collation ‘sucrée’, </a:t>
            </a:r>
          </a:p>
          <a:p>
            <a:pPr marL="268288" indent="-182563"/>
            <a:r>
              <a:rPr lang="fr-BE" sz="2400" dirty="0">
                <a:solidFill>
                  <a:srgbClr val="000000"/>
                </a:solidFill>
              </a:rPr>
              <a:t>+ un repas du soir riche en glucides à haut indice glycémique (frites =30 sucres, </a:t>
            </a:r>
            <a:br>
              <a:rPr lang="fr-BE" sz="2400" dirty="0">
                <a:solidFill>
                  <a:srgbClr val="000000"/>
                </a:solidFill>
              </a:rPr>
            </a:br>
            <a:r>
              <a:rPr lang="fr-BE" sz="2400" dirty="0">
                <a:solidFill>
                  <a:srgbClr val="000000"/>
                </a:solidFill>
              </a:rPr>
              <a:t>pizza =22 sucres, pâtes =15 sucres…), </a:t>
            </a:r>
          </a:p>
          <a:p>
            <a:pPr marL="268288" indent="-182563"/>
            <a:r>
              <a:rPr lang="fr-BE" sz="2400" dirty="0">
                <a:solidFill>
                  <a:srgbClr val="000000"/>
                </a:solidFill>
              </a:rPr>
              <a:t>+ un peu d’alcool (</a:t>
            </a:r>
            <a:r>
              <a:rPr lang="fr-FR" sz="2400" dirty="0">
                <a:solidFill>
                  <a:srgbClr val="000000"/>
                </a:solidFill>
              </a:rPr>
              <a:t>1 bière ou apéritif = 3 à 6 sucres</a:t>
            </a:r>
            <a:r>
              <a:rPr lang="fr-BE" sz="2400" dirty="0">
                <a:solidFill>
                  <a:srgbClr val="000000"/>
                </a:solidFill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dirty="0">
              <a:solidFill>
                <a:srgbClr val="000000"/>
              </a:solidFill>
            </a:endParaRPr>
          </a:p>
          <a:p>
            <a:pPr algn="ctr"/>
            <a:r>
              <a:rPr lang="fr-BE" sz="2400" b="1" dirty="0">
                <a:solidFill>
                  <a:srgbClr val="000000"/>
                </a:solidFill>
              </a:rPr>
              <a:t>Faites le bilan vous-même !</a:t>
            </a:r>
          </a:p>
          <a:p>
            <a:endParaRPr lang="fr-B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530236C-E82E-4ACD-A787-438DB03FA7AF}"/>
              </a:ext>
            </a:extLst>
          </p:cNvPr>
          <p:cNvSpPr txBox="1"/>
          <p:nvPr/>
        </p:nvSpPr>
        <p:spPr>
          <a:xfrm>
            <a:off x="357809" y="5800280"/>
            <a:ext cx="8358808" cy="830997"/>
          </a:xfrm>
          <a:prstGeom prst="rect">
            <a:avLst/>
          </a:prstGeom>
          <a:solidFill>
            <a:srgbClr val="3366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BE" sz="2400" b="1" dirty="0">
                <a:solidFill>
                  <a:schemeClr val="bg1"/>
                </a:solidFill>
              </a:rPr>
              <a:t>Diminuer les glucides à haut IG - Sevrez-vous ! </a:t>
            </a:r>
            <a:br>
              <a:rPr lang="fr-BE" sz="2400" b="1" dirty="0">
                <a:solidFill>
                  <a:schemeClr val="bg1"/>
                </a:solidFill>
              </a:rPr>
            </a:br>
            <a:r>
              <a:rPr lang="fr-BE" sz="2400" b="1" dirty="0">
                <a:solidFill>
                  <a:schemeClr val="bg1"/>
                </a:solidFill>
              </a:rPr>
              <a:t>Privilégier les glucides à faible IG (légumineuses, fruits, etc.)</a:t>
            </a:r>
          </a:p>
        </p:txBody>
      </p:sp>
    </p:spTree>
    <p:extLst>
      <p:ext uri="{BB962C8B-B14F-4D97-AF65-F5344CB8AC3E}">
        <p14:creationId xmlns:p14="http://schemas.microsoft.com/office/powerpoint/2010/main" val="180136454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98A5896-2C6B-4464-A282-B3F5BA5176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9424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98A5896-2C6B-4464-A282-B3F5BA5176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77A833B-DBFC-4C64-BD0B-8EC57ACB968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BE" sz="30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C0474D-90D1-4132-89AA-417EEAF94E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48174"/>
            <a:ext cx="2189801" cy="3082283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EDF9BC25-A9F1-45D3-9A67-8B6DB80517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N’oubliez pas aussi les quelques gestes simp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EF754DF-81B5-46A9-A7E3-DB9771D690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81458" y="1045249"/>
            <a:ext cx="6357099" cy="5114011"/>
          </a:xfrm>
        </p:spPr>
        <p:txBody>
          <a:bodyPr>
            <a:normAutofit fontScale="92500" lnSpcReduction="20000"/>
          </a:bodyPr>
          <a:lstStyle/>
          <a:p>
            <a:r>
              <a:rPr lang="fr-BE" dirty="0"/>
              <a:t>Se laver les mains au sortir des toilettes, avant de manger, de cuisiner, en rentrant chez soi, après un rapport sexuel</a:t>
            </a:r>
          </a:p>
          <a:p>
            <a:r>
              <a:rPr lang="fr-BE" dirty="0"/>
              <a:t>Laisser ses chaussures à l’entrée, mettre des chaussures d’intérieur</a:t>
            </a:r>
          </a:p>
          <a:p>
            <a:pPr lvl="0"/>
            <a:r>
              <a:rPr lang="fr-BE" dirty="0"/>
              <a:t>Penser à nettoyer les pattes des animaux de compagnie</a:t>
            </a:r>
          </a:p>
          <a:p>
            <a:pPr lvl="0"/>
            <a:r>
              <a:rPr lang="fr-BE" dirty="0"/>
              <a:t>Eviter aux vêtements qui trainent par terre</a:t>
            </a:r>
          </a:p>
          <a:p>
            <a:pPr lvl="0"/>
            <a:r>
              <a:rPr lang="fr-BE" dirty="0"/>
              <a:t>Programmer un nettoyage du réfrigérateur mensuellement et avec l’aide de la famille (c’est plus sympa et plus efficace grâce à la prise de conscience). Cela peut se faire avec du vinaigre blanc/d'alcool ou un peu d'eau de Javel, s’il y a longtemps que cela n’a pas été fait, et en se protégeant. Idem pour les poignées (à la maison, en voiture, au travail)</a:t>
            </a:r>
          </a:p>
          <a:p>
            <a:pPr lvl="0"/>
            <a:r>
              <a:rPr lang="fr-BE" dirty="0"/>
              <a:t>Assainir les moquettes de la maison</a:t>
            </a:r>
          </a:p>
          <a:p>
            <a:pPr lvl="0"/>
            <a:r>
              <a:rPr lang="fr-BE" dirty="0"/>
              <a:t>Changer régulièrement les filtres des systèmes de ventilation de la maison, de la voiture et au travail</a:t>
            </a:r>
          </a:p>
          <a:p>
            <a:pPr lvl="0"/>
            <a:r>
              <a:rPr lang="fr-BE" dirty="0"/>
              <a:t>Intensifier les mesures en automne et en hiver. Lors d’épidémies, penser à tout ce qui est en contact commun (par exemple : claviers, télécommandes, boutons d’ascenseur, rampes d’escaliers, poignées de caddies, etc.)</a:t>
            </a:r>
          </a:p>
          <a:p>
            <a:r>
              <a:rPr lang="fr-BE" dirty="0"/>
              <a:t>Penser à aérer quotidiennement les pièces de vie (maison, voiture, travail)</a:t>
            </a:r>
          </a:p>
        </p:txBody>
      </p:sp>
    </p:spTree>
    <p:extLst>
      <p:ext uri="{BB962C8B-B14F-4D97-AF65-F5344CB8AC3E}">
        <p14:creationId xmlns:p14="http://schemas.microsoft.com/office/powerpoint/2010/main" val="42861217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flower, fabric, food&#10;&#10;Description automatically generated">
            <a:extLst>
              <a:ext uri="{FF2B5EF4-FFF2-40B4-BE49-F238E27FC236}">
                <a16:creationId xmlns:a16="http://schemas.microsoft.com/office/drawing/2014/main" id="{E26F3B5E-D39C-4D51-8C39-F58B12BF788A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725" y="1166627"/>
            <a:ext cx="4088196" cy="408819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607115D-29A2-4E0E-903D-8EFC091B2662}"/>
              </a:ext>
            </a:extLst>
          </p:cNvPr>
          <p:cNvSpPr txBox="1"/>
          <p:nvPr/>
        </p:nvSpPr>
        <p:spPr>
          <a:xfrm>
            <a:off x="4384051" y="566462"/>
            <a:ext cx="32556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3600" b="1" dirty="0"/>
              <a:t>Syndrome </a:t>
            </a:r>
          </a:p>
          <a:p>
            <a:r>
              <a:rPr lang="fr-BE" sz="3600" b="1" dirty="0"/>
              <a:t>post-Covid-19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66E3F4-2EEA-4AC3-B5B8-8F33554BD574}"/>
              </a:ext>
            </a:extLst>
          </p:cNvPr>
          <p:cNvSpPr txBox="1"/>
          <p:nvPr/>
        </p:nvSpPr>
        <p:spPr>
          <a:xfrm>
            <a:off x="4384052" y="3709547"/>
            <a:ext cx="32556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3600" b="1" dirty="0"/>
              <a:t>Stress post-traumatiqu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86923F-6BCF-4ED9-8E9B-29B25F3A2940}"/>
              </a:ext>
            </a:extLst>
          </p:cNvPr>
          <p:cNvSpPr txBox="1"/>
          <p:nvPr/>
        </p:nvSpPr>
        <p:spPr>
          <a:xfrm>
            <a:off x="4732774" y="1893665"/>
            <a:ext cx="348677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400" b="1" dirty="0"/>
              <a:t>5 à 10% des malades du Covid-19 ont des symptômes à long ter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400" dirty="0"/>
              <a:t>maux de tête, une grande fatigue, un essoufflement au moindre effort, des douleurs au cou, cage thoracique, une sensation d’oppression thoracique, une perte de goût persistante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sz="1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915BBD5-EAAF-4931-AE70-EC1B88A25595}"/>
              </a:ext>
            </a:extLst>
          </p:cNvPr>
          <p:cNvSpPr txBox="1"/>
          <p:nvPr/>
        </p:nvSpPr>
        <p:spPr>
          <a:xfrm>
            <a:off x="4384052" y="4909876"/>
            <a:ext cx="448510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4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urtout les personnes qui ont été en soins intensifs</a:t>
            </a:r>
            <a:endParaRPr lang="fr-B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400" dirty="0"/>
              <a:t>baisse d'intérêt pour les activités du quotidien, une baisse de la concentration, des troubles du sommeil, une irritabilité, etc. </a:t>
            </a:r>
          </a:p>
        </p:txBody>
      </p:sp>
    </p:spTree>
    <p:extLst>
      <p:ext uri="{BB962C8B-B14F-4D97-AF65-F5344CB8AC3E}">
        <p14:creationId xmlns:p14="http://schemas.microsoft.com/office/powerpoint/2010/main" val="16615699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53C1B03D-AA5D-4192-BA03-EBE12016337F}"/>
              </a:ext>
            </a:extLst>
          </p:cNvPr>
          <p:cNvSpPr txBox="1"/>
          <p:nvPr/>
        </p:nvSpPr>
        <p:spPr>
          <a:xfrm>
            <a:off x="901453" y="119116"/>
            <a:ext cx="725320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6000" b="1" dirty="0">
                <a:solidFill>
                  <a:srgbClr val="246372"/>
                </a:solidFill>
              </a:rPr>
              <a:t>2 Parties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2B49271-CA1F-4686-B62B-7B64315ED233}"/>
              </a:ext>
            </a:extLst>
          </p:cNvPr>
          <p:cNvGrpSpPr/>
          <p:nvPr/>
        </p:nvGrpSpPr>
        <p:grpSpPr>
          <a:xfrm>
            <a:off x="1674691" y="1134779"/>
            <a:ext cx="2970423" cy="5035656"/>
            <a:chOff x="439387" y="1092011"/>
            <a:chExt cx="2970423" cy="5035656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5D375C73-A481-49CF-9761-5160E506850C}"/>
                </a:ext>
              </a:extLst>
            </p:cNvPr>
            <p:cNvGrpSpPr/>
            <p:nvPr/>
          </p:nvGrpSpPr>
          <p:grpSpPr>
            <a:xfrm>
              <a:off x="439387" y="1781298"/>
              <a:ext cx="2683823" cy="4346369"/>
              <a:chOff x="439387" y="1781298"/>
              <a:chExt cx="2683823" cy="4346369"/>
            </a:xfrm>
          </p:grpSpPr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EEC441DF-53A8-46A0-8590-78AEB784C275}"/>
                  </a:ext>
                </a:extLst>
              </p:cNvPr>
              <p:cNvSpPr/>
              <p:nvPr/>
            </p:nvSpPr>
            <p:spPr>
              <a:xfrm>
                <a:off x="439387" y="1781298"/>
                <a:ext cx="2683823" cy="4346369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  <a:effectLst>
                <a:outerShdw blurRad="50800" dist="114300" dir="8100000" algn="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 dirty="0"/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6615E687-8C29-4013-A33E-9692D4140AAF}"/>
                  </a:ext>
                </a:extLst>
              </p:cNvPr>
              <p:cNvSpPr/>
              <p:nvPr/>
            </p:nvSpPr>
            <p:spPr>
              <a:xfrm>
                <a:off x="637308" y="2249298"/>
                <a:ext cx="2287979" cy="344016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76200" dir="8100000" algn="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 dirty="0"/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921ECA4C-EDC2-4553-9427-429F19CA53EE}"/>
                  </a:ext>
                </a:extLst>
              </p:cNvPr>
              <p:cNvSpPr txBox="1"/>
              <p:nvPr/>
            </p:nvSpPr>
            <p:spPr>
              <a:xfrm>
                <a:off x="637308" y="3987373"/>
                <a:ext cx="2246201" cy="13849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800" b="1" dirty="0" err="1"/>
                  <a:t>Comprendre</a:t>
                </a:r>
                <a:r>
                  <a:rPr lang="en-US" sz="2800" b="1" dirty="0"/>
                  <a:t> </a:t>
                </a:r>
                <a:br>
                  <a:rPr lang="en-US" sz="2800" b="1" dirty="0"/>
                </a:br>
                <a:r>
                  <a:rPr lang="en-US" sz="2800" b="1" dirty="0"/>
                  <a:t>pour </a:t>
                </a:r>
                <a:r>
                  <a:rPr lang="en-US" sz="2800" b="1" dirty="0" err="1"/>
                  <a:t>mieux</a:t>
                </a:r>
                <a:r>
                  <a:rPr lang="en-US" sz="2800" b="1" dirty="0"/>
                  <a:t> </a:t>
                </a:r>
                <a:br>
                  <a:rPr lang="en-US" sz="2800" b="1" dirty="0"/>
                </a:br>
                <a:r>
                  <a:rPr lang="en-US" sz="2800" b="1" dirty="0"/>
                  <a:t>se </a:t>
                </a:r>
                <a:r>
                  <a:rPr lang="en-US" sz="2800" b="1" dirty="0" err="1"/>
                  <a:t>protéger</a:t>
                </a:r>
                <a:endParaRPr lang="fr-BE" sz="2800" b="1" dirty="0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E41ADC02-D377-4486-BF6E-6DE7ABC055BA}"/>
                </a:ext>
              </a:extLst>
            </p:cNvPr>
            <p:cNvGrpSpPr/>
            <p:nvPr/>
          </p:nvGrpSpPr>
          <p:grpSpPr>
            <a:xfrm>
              <a:off x="1683250" y="1092011"/>
              <a:ext cx="1726560" cy="550235"/>
              <a:chOff x="1683250" y="1092011"/>
              <a:chExt cx="1726560" cy="550235"/>
            </a:xfrm>
          </p:grpSpPr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59EE1F5D-758D-458B-8D36-0DEB358AD9C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17810" y="1371818"/>
                <a:ext cx="1692000" cy="0"/>
              </a:xfrm>
              <a:prstGeom prst="line">
                <a:avLst/>
              </a:prstGeom>
              <a:ln>
                <a:solidFill>
                  <a:srgbClr val="24637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>
                <a:extLst>
                  <a:ext uri="{FF2B5EF4-FFF2-40B4-BE49-F238E27FC236}">
                    <a16:creationId xmlns:a16="http://schemas.microsoft.com/office/drawing/2014/main" id="{09FD3BE5-73E6-44DA-9C67-7DA731585CE5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3254087" y="1236011"/>
                <a:ext cx="288000" cy="0"/>
              </a:xfrm>
              <a:prstGeom prst="line">
                <a:avLst/>
              </a:prstGeom>
              <a:ln>
                <a:solidFill>
                  <a:srgbClr val="24637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E77F1297-0778-4FB2-A848-C83E8EC4E6C6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>
                <a:off x="1636954" y="1470011"/>
                <a:ext cx="180000" cy="0"/>
              </a:xfrm>
              <a:prstGeom prst="line">
                <a:avLst/>
              </a:prstGeom>
              <a:ln>
                <a:solidFill>
                  <a:srgbClr val="24637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5917122E-E2C9-4E40-A87E-AEBD92043589}"/>
                  </a:ext>
                </a:extLst>
              </p:cNvPr>
              <p:cNvSpPr/>
              <p:nvPr/>
            </p:nvSpPr>
            <p:spPr>
              <a:xfrm>
                <a:off x="1683250" y="1534246"/>
                <a:ext cx="108000" cy="108000"/>
              </a:xfrm>
              <a:prstGeom prst="ellipse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1189E694-199B-4A9A-AD47-DC64E13F2109}"/>
              </a:ext>
            </a:extLst>
          </p:cNvPr>
          <p:cNvGrpSpPr/>
          <p:nvPr/>
        </p:nvGrpSpPr>
        <p:grpSpPr>
          <a:xfrm>
            <a:off x="4780058" y="1135755"/>
            <a:ext cx="3030710" cy="4991911"/>
            <a:chOff x="4780058" y="1135755"/>
            <a:chExt cx="3030710" cy="4991911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560E2AA3-D743-4658-8F44-9C550952EE4A}"/>
                </a:ext>
              </a:extLst>
            </p:cNvPr>
            <p:cNvGrpSpPr/>
            <p:nvPr/>
          </p:nvGrpSpPr>
          <p:grpSpPr>
            <a:xfrm>
              <a:off x="5126945" y="1781297"/>
              <a:ext cx="2683823" cy="4346369"/>
              <a:chOff x="3335850" y="1781296"/>
              <a:chExt cx="2683823" cy="4346369"/>
            </a:xfrm>
          </p:grpSpPr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8C458EDF-DC5B-48BE-BA1E-FDC8872A9AAA}"/>
                  </a:ext>
                </a:extLst>
              </p:cNvPr>
              <p:cNvSpPr/>
              <p:nvPr/>
            </p:nvSpPr>
            <p:spPr>
              <a:xfrm>
                <a:off x="3335850" y="1781296"/>
                <a:ext cx="2683823" cy="4346369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  <a:effectLst>
                <a:outerShdw blurRad="50800" dist="114300" dir="8100000" algn="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 dirty="0"/>
              </a:p>
            </p:txBody>
          </p: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6B80F8F9-8E90-4850-A59D-9BA5B3DABE7F}"/>
                  </a:ext>
                </a:extLst>
              </p:cNvPr>
              <p:cNvSpPr/>
              <p:nvPr/>
            </p:nvSpPr>
            <p:spPr>
              <a:xfrm>
                <a:off x="3533235" y="2292065"/>
                <a:ext cx="2287979" cy="339739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76200" dir="8100000" algn="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 dirty="0"/>
              </a:p>
            </p:txBody>
          </p: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1CE9E079-A1D1-4BCA-8ADB-F4F3D03262DF}"/>
                  </a:ext>
                </a:extLst>
              </p:cNvPr>
              <p:cNvSpPr txBox="1"/>
              <p:nvPr/>
            </p:nvSpPr>
            <p:spPr>
              <a:xfrm>
                <a:off x="3546229" y="4057442"/>
                <a:ext cx="2246201" cy="13849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800" b="1" dirty="0" err="1"/>
                  <a:t>Découvrir</a:t>
                </a:r>
                <a:r>
                  <a:rPr lang="en-US" sz="2800" b="1" dirty="0"/>
                  <a:t> </a:t>
                </a:r>
              </a:p>
              <a:p>
                <a:pPr algn="ctr"/>
                <a:r>
                  <a:rPr lang="en-US" sz="2800" b="1" dirty="0"/>
                  <a:t>les </a:t>
                </a:r>
                <a:r>
                  <a:rPr lang="en-US" sz="2800" b="1" dirty="0" err="1"/>
                  <a:t>pistes</a:t>
                </a:r>
                <a:r>
                  <a:rPr lang="en-US" sz="2800" b="1" dirty="0"/>
                  <a:t> de solutions</a:t>
                </a:r>
                <a:endParaRPr lang="fr-BE" sz="2800" b="1" dirty="0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A3C13C45-BF33-4355-ADA9-961C1468A59B}"/>
                </a:ext>
              </a:extLst>
            </p:cNvPr>
            <p:cNvGrpSpPr/>
            <p:nvPr/>
          </p:nvGrpSpPr>
          <p:grpSpPr>
            <a:xfrm>
              <a:off x="4780058" y="1135755"/>
              <a:ext cx="1735519" cy="540525"/>
              <a:chOff x="4780058" y="1135755"/>
              <a:chExt cx="1735519" cy="540525"/>
            </a:xfrm>
          </p:grpSpPr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C641DE97-953E-4B2F-975A-1C520E8CF12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780058" y="1415562"/>
                <a:ext cx="1692000" cy="0"/>
              </a:xfrm>
              <a:prstGeom prst="line">
                <a:avLst/>
              </a:prstGeom>
              <a:ln>
                <a:solidFill>
                  <a:srgbClr val="24637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1AB3A2BA-7E4D-4354-9B9C-23B46C978429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4645572" y="1279755"/>
                <a:ext cx="288000" cy="0"/>
              </a:xfrm>
              <a:prstGeom prst="line">
                <a:avLst/>
              </a:prstGeom>
              <a:ln>
                <a:solidFill>
                  <a:srgbClr val="24637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66DCB03B-3756-49C8-B3EB-04CEA48DE52F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6352425" y="1520893"/>
                <a:ext cx="216000" cy="0"/>
              </a:xfrm>
              <a:prstGeom prst="line">
                <a:avLst/>
              </a:prstGeom>
              <a:ln>
                <a:solidFill>
                  <a:srgbClr val="24637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FCA1173B-E674-489C-84B6-82215A814810}"/>
                  </a:ext>
                </a:extLst>
              </p:cNvPr>
              <p:cNvSpPr/>
              <p:nvPr/>
            </p:nvSpPr>
            <p:spPr>
              <a:xfrm flipH="1">
                <a:off x="6407577" y="1568280"/>
                <a:ext cx="108000" cy="108000"/>
              </a:xfrm>
              <a:prstGeom prst="ellipse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BE"/>
              </a:p>
            </p:txBody>
          </p:sp>
        </p:grpSp>
      </p:grpSp>
      <p:pic>
        <p:nvPicPr>
          <p:cNvPr id="28" name="Picture 27" descr="A picture containing clock&#10;&#10;Description automatically generated">
            <a:extLst>
              <a:ext uri="{FF2B5EF4-FFF2-40B4-BE49-F238E27FC236}">
                <a16:creationId xmlns:a16="http://schemas.microsoft.com/office/drawing/2014/main" id="{BAB3DF26-0684-44CD-B8E2-154C0C91C3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7937" y="2500138"/>
            <a:ext cx="1775550" cy="1557305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56D2D9D-E9D4-420B-B001-C17F737379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23580" y="2593061"/>
            <a:ext cx="1583994" cy="1404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5852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clock&#10;&#10;Description automatically generated">
            <a:extLst>
              <a:ext uri="{FF2B5EF4-FFF2-40B4-BE49-F238E27FC236}">
                <a16:creationId xmlns:a16="http://schemas.microsoft.com/office/drawing/2014/main" id="{92EA0537-7C5E-47CA-AE70-37E44E6F09D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179" t="-2070" r="9226" b="2070"/>
          <a:stretch/>
        </p:blipFill>
        <p:spPr>
          <a:xfrm>
            <a:off x="3900118" y="1192466"/>
            <a:ext cx="5145216" cy="4854906"/>
          </a:xfrm>
          <a:prstGeom prst="rect">
            <a:avLst/>
          </a:prstGeom>
        </p:spPr>
      </p:pic>
      <p:sp>
        <p:nvSpPr>
          <p:cNvPr id="4" name="Rectangle 1">
            <a:extLst>
              <a:ext uri="{FF2B5EF4-FFF2-40B4-BE49-F238E27FC236}">
                <a16:creationId xmlns:a16="http://schemas.microsoft.com/office/drawing/2014/main" id="{867329CF-5C95-46C1-8477-FC00233416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069" y="2544708"/>
            <a:ext cx="2624437" cy="660715"/>
          </a:xfrm>
          <a:prstGeom prst="rect">
            <a:avLst/>
          </a:prstGeom>
          <a:solidFill>
            <a:srgbClr val="8BA35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BE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904DF18C-4CF3-40EA-9629-21508E98FC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076" y="1515134"/>
            <a:ext cx="1869463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BE" altLang="fr-FR" sz="6000" b="0" i="0" u="none" strike="noStrike" cap="none" normalizeH="0" baseline="0" dirty="0" bmk="_Hlk17197824">
                <a:ln>
                  <a:noFill/>
                </a:ln>
                <a:solidFill>
                  <a:schemeClr val="tx1"/>
                </a:solidFill>
                <a:effectLst/>
                <a:latin typeface="Gill Sans Nova Cond Lt" panose="020B0306020104020203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RTIE 1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A85883C6-5F30-4CAB-B577-FD842BFB55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076" y="2343835"/>
            <a:ext cx="4170537" cy="1938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BE" altLang="fr-FR" sz="6000" b="0" i="0" u="none" strike="noStrike" cap="none" normalizeH="0" baseline="0" dirty="0" bmk="_Hlk17197824">
                <a:ln>
                  <a:noFill/>
                </a:ln>
                <a:solidFill>
                  <a:schemeClr val="bg1"/>
                </a:solidFill>
                <a:effectLst/>
                <a:latin typeface="Gill Sans Nova Cond Lt" panose="020B0306020104020203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RENDRE</a:t>
            </a:r>
            <a:r>
              <a:rPr kumimoji="0" lang="fr-BE" altLang="fr-FR" sz="6000" b="0" i="0" u="none" strike="noStrike" cap="none" normalizeH="0" baseline="0" dirty="0" bmk="_Hlk17197824">
                <a:ln>
                  <a:noFill/>
                </a:ln>
                <a:solidFill>
                  <a:schemeClr val="tx1"/>
                </a:solidFill>
                <a:effectLst/>
                <a:latin typeface="Gill Sans Nova Cond Lt" panose="020B0306020104020203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OUR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BE" altLang="fr-FR" sz="6000" b="0" i="0" u="none" strike="noStrike" cap="none" normalizeH="0" baseline="0" dirty="0" bmk="_Hlk17197824">
                <a:ln>
                  <a:noFill/>
                </a:ln>
                <a:solidFill>
                  <a:schemeClr val="tx1"/>
                </a:solidFill>
                <a:effectLst/>
                <a:latin typeface="Gill Sans Nova Cond Lt" panose="020B0306020104020203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EUX SE PROTÉGER</a:t>
            </a:r>
          </a:p>
        </p:txBody>
      </p:sp>
    </p:spTree>
    <p:extLst>
      <p:ext uri="{BB962C8B-B14F-4D97-AF65-F5344CB8AC3E}">
        <p14:creationId xmlns:p14="http://schemas.microsoft.com/office/powerpoint/2010/main" val="7670081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8" name="Object 277" hidden="1">
            <a:extLst>
              <a:ext uri="{FF2B5EF4-FFF2-40B4-BE49-F238E27FC236}">
                <a16:creationId xmlns:a16="http://schemas.microsoft.com/office/drawing/2014/main" id="{188E48A8-DEAC-4978-8EAC-D5327389CC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833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278" name="Object 277" hidden="1">
                        <a:extLst>
                          <a:ext uri="{FF2B5EF4-FFF2-40B4-BE49-F238E27FC236}">
                            <a16:creationId xmlns:a16="http://schemas.microsoft.com/office/drawing/2014/main" id="{188E48A8-DEAC-4978-8EAC-D5327389CC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9" name="Rectangle 278" hidden="1">
            <a:extLst>
              <a:ext uri="{FF2B5EF4-FFF2-40B4-BE49-F238E27FC236}">
                <a16:creationId xmlns:a16="http://schemas.microsoft.com/office/drawing/2014/main" id="{1D6F8F52-3F95-4DEF-9990-22C5B7D3CC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BE" sz="30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276" name="Picture 275">
            <a:extLst>
              <a:ext uri="{FF2B5EF4-FFF2-40B4-BE49-F238E27FC236}">
                <a16:creationId xmlns:a16="http://schemas.microsoft.com/office/drawing/2014/main" id="{F194DC36-3484-4A7B-A2E5-A6359070483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31510" y="1417382"/>
            <a:ext cx="5303980" cy="4895512"/>
          </a:xfrm>
          <a:prstGeom prst="rect">
            <a:avLst/>
          </a:prstGeom>
        </p:spPr>
      </p:pic>
      <p:sp>
        <p:nvSpPr>
          <p:cNvPr id="277" name="Title 276">
            <a:extLst>
              <a:ext uri="{FF2B5EF4-FFF2-40B4-BE49-F238E27FC236}">
                <a16:creationId xmlns:a16="http://schemas.microsoft.com/office/drawing/2014/main" id="{3C8889F5-4E88-4ADC-A4EA-7984461C14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Coronavirus, une apparence en forme de couronne</a:t>
            </a:r>
          </a:p>
        </p:txBody>
      </p:sp>
    </p:spTree>
    <p:extLst>
      <p:ext uri="{BB962C8B-B14F-4D97-AF65-F5344CB8AC3E}">
        <p14:creationId xmlns:p14="http://schemas.microsoft.com/office/powerpoint/2010/main" val="2472289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72378F1-CC7C-4FC7-8B15-310512D1E5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5604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72378F1-CC7C-4FC7-8B15-310512D1E5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59A69B6F-9EED-4BEF-A770-5E6B0F57680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BE" sz="28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62" name="Picture 2" descr="C:\Users\amacleod\AppData\Local\Microsoft\Windows\Temporary Internet Files\Content.IE5\KE75UARO\MiLjagAia.png">
            <a:extLst>
              <a:ext uri="{FF2B5EF4-FFF2-40B4-BE49-F238E27FC236}">
                <a16:creationId xmlns:a16="http://schemas.microsoft.com/office/drawing/2014/main" id="{67487853-9B95-42B5-BF5A-8BFC19A8C8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</a:blip>
          <a:srcRect/>
          <a:stretch>
            <a:fillRect/>
          </a:stretch>
        </p:blipFill>
        <p:spPr bwMode="auto">
          <a:xfrm>
            <a:off x="931903" y="1139635"/>
            <a:ext cx="2591858" cy="4750401"/>
          </a:xfrm>
          <a:prstGeom prst="rect">
            <a:avLst/>
          </a:prstGeom>
          <a:noFill/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16A57731-A920-4208-B438-5A6212243C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888" y="160378"/>
            <a:ext cx="8360086" cy="600404"/>
          </a:xfrm>
        </p:spPr>
        <p:txBody>
          <a:bodyPr>
            <a:noAutofit/>
          </a:bodyPr>
          <a:lstStyle/>
          <a:p>
            <a:pPr algn="ctr"/>
            <a:r>
              <a:rPr lang="fr-BE" sz="2800" dirty="0"/>
              <a:t>Coronavirus : que se passe-t-il si vous êtes positifs ?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C034A8A-06DB-495D-BA0A-AA36BBEC0153}"/>
              </a:ext>
            </a:extLst>
          </p:cNvPr>
          <p:cNvSpPr/>
          <p:nvPr/>
        </p:nvSpPr>
        <p:spPr>
          <a:xfrm>
            <a:off x="5752651" y="2293311"/>
            <a:ext cx="3151784" cy="2254240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1270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3E45B0F-0D43-437D-B6CE-EF0AAD8D6CEB}"/>
              </a:ext>
            </a:extLst>
          </p:cNvPr>
          <p:cNvSpPr txBox="1"/>
          <p:nvPr/>
        </p:nvSpPr>
        <p:spPr>
          <a:xfrm>
            <a:off x="5763236" y="2867855"/>
            <a:ext cx="2941982" cy="7752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cs typeface="Arial" panose="020B0604020202020204" pitchFamily="34" charset="0"/>
              </a:rPr>
              <a:t>Dans ± 80% des cas, les symptômes seront légers** </a:t>
            </a:r>
            <a:endParaRPr lang="fr-BE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FD4F663-BC0E-48F9-AE6E-47C9D0BED641}"/>
              </a:ext>
            </a:extLst>
          </p:cNvPr>
          <p:cNvGrpSpPr/>
          <p:nvPr/>
        </p:nvGrpSpPr>
        <p:grpSpPr>
          <a:xfrm flipH="1">
            <a:off x="7189838" y="1318523"/>
            <a:ext cx="1789113" cy="1426907"/>
            <a:chOff x="7018109" y="2134938"/>
            <a:chExt cx="1124907" cy="914400"/>
          </a:xfrm>
          <a:solidFill>
            <a:srgbClr val="FFC000"/>
          </a:solidFill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F5C4248F-1451-41E3-8235-99E67A76DC36}"/>
                </a:ext>
              </a:extLst>
            </p:cNvPr>
            <p:cNvGrpSpPr/>
            <p:nvPr/>
          </p:nvGrpSpPr>
          <p:grpSpPr>
            <a:xfrm>
              <a:off x="7018109" y="2134938"/>
              <a:ext cx="914400" cy="914400"/>
              <a:chOff x="7018109" y="2134938"/>
              <a:chExt cx="914400" cy="914400"/>
            </a:xfrm>
            <a:grpFill/>
          </p:grpSpPr>
          <p:pic>
            <p:nvPicPr>
              <p:cNvPr id="41" name="Graphic 40" descr="Head with gears">
                <a:extLst>
                  <a:ext uri="{FF2B5EF4-FFF2-40B4-BE49-F238E27FC236}">
                    <a16:creationId xmlns:a16="http://schemas.microsoft.com/office/drawing/2014/main" id="{04EBFCAD-CAF3-467A-8826-E5629BFC5E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7018109" y="2134938"/>
                <a:ext cx="914400" cy="914400"/>
              </a:xfrm>
              <a:prstGeom prst="rect">
                <a:avLst/>
              </a:prstGeom>
            </p:spPr>
          </p:pic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CE73581E-E731-48F7-9495-75F026B9FD30}"/>
                  </a:ext>
                </a:extLst>
              </p:cNvPr>
              <p:cNvSpPr/>
              <p:nvPr/>
            </p:nvSpPr>
            <p:spPr bwMode="auto">
              <a:xfrm>
                <a:off x="7202699" y="2240218"/>
                <a:ext cx="460580" cy="320859"/>
              </a:xfrm>
              <a:prstGeom prst="ellipse">
                <a:avLst/>
              </a:prstGeom>
              <a:grpFill/>
              <a:ln w="9525" cap="flat" cmpd="sng" algn="ctr">
                <a:solidFill>
                  <a:srgbClr val="FFC000"/>
                </a:solidFill>
                <a:prstDash val="solid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lvl="0" indent="-180975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Tx/>
                  <a:buFont typeface="Arial" pitchFamily="34" charset="0"/>
                  <a:buChar char="–"/>
                  <a:tabLst/>
                  <a:defRPr/>
                </a:pPr>
                <a:endParaRPr kumimoji="0" lang="fr-BE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D959695D-15F2-49B2-8B66-7476A33E727D}"/>
                  </a:ext>
                </a:extLst>
              </p:cNvPr>
              <p:cNvSpPr/>
              <p:nvPr/>
            </p:nvSpPr>
            <p:spPr bwMode="auto">
              <a:xfrm>
                <a:off x="7181739" y="2400647"/>
                <a:ext cx="460580" cy="320859"/>
              </a:xfrm>
              <a:prstGeom prst="ellipse">
                <a:avLst/>
              </a:prstGeom>
              <a:grpFill/>
              <a:ln w="9525" cap="flat" cmpd="sng" algn="ctr">
                <a:solidFill>
                  <a:srgbClr val="FFC000"/>
                </a:solidFill>
                <a:prstDash val="solid"/>
                <a:headEnd/>
                <a:tailEnd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marR="0" lvl="0" indent="-180975" algn="ctr" defTabSz="91440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FFFFFF"/>
                  </a:buClr>
                  <a:buSzTx/>
                  <a:buFont typeface="Arial" pitchFamily="34" charset="0"/>
                  <a:buChar char="–"/>
                  <a:tabLst/>
                  <a:defRPr/>
                </a:pPr>
                <a:endParaRPr kumimoji="0" lang="fr-BE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BDF934C0-0588-49DE-B13D-842F1E024C7D}"/>
                </a:ext>
              </a:extLst>
            </p:cNvPr>
            <p:cNvSpPr/>
            <p:nvPr/>
          </p:nvSpPr>
          <p:spPr bwMode="auto">
            <a:xfrm>
              <a:off x="7963823" y="2668553"/>
              <a:ext cx="36000" cy="36000"/>
            </a:xfrm>
            <a:prstGeom prst="ellipse">
              <a:avLst/>
            </a:prstGeom>
            <a:grpFill/>
            <a:ln w="9525" cap="flat" cmpd="sng" algn="ctr">
              <a:solidFill>
                <a:srgbClr val="FFC000"/>
              </a:solidFill>
              <a:prstDash val="solid"/>
              <a:headEnd/>
              <a:tailEnd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fr-BE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900B5835-4209-44DE-BC38-FFD24A30604A}"/>
                </a:ext>
              </a:extLst>
            </p:cNvPr>
            <p:cNvSpPr/>
            <p:nvPr/>
          </p:nvSpPr>
          <p:spPr bwMode="auto">
            <a:xfrm>
              <a:off x="7937841" y="2755531"/>
              <a:ext cx="36000" cy="36000"/>
            </a:xfrm>
            <a:prstGeom prst="ellipse">
              <a:avLst/>
            </a:prstGeom>
            <a:grpFill/>
            <a:ln w="9525" cap="flat" cmpd="sng" algn="ctr">
              <a:solidFill>
                <a:srgbClr val="FFC000"/>
              </a:solidFill>
              <a:prstDash val="solid"/>
              <a:headEnd/>
              <a:tailEnd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fr-BE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786AD563-7D46-4511-A9FF-DF04ECA413D8}"/>
                </a:ext>
              </a:extLst>
            </p:cNvPr>
            <p:cNvSpPr/>
            <p:nvPr/>
          </p:nvSpPr>
          <p:spPr bwMode="auto">
            <a:xfrm>
              <a:off x="8035016" y="2719531"/>
              <a:ext cx="36000" cy="36000"/>
            </a:xfrm>
            <a:prstGeom prst="ellipse">
              <a:avLst/>
            </a:prstGeom>
            <a:grpFill/>
            <a:ln w="9525" cap="flat" cmpd="sng" algn="ctr">
              <a:solidFill>
                <a:srgbClr val="FFC000"/>
              </a:solidFill>
              <a:prstDash val="solid"/>
              <a:headEnd/>
              <a:tailEnd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fr-BE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9D8FC8E2-707C-49C0-ADC3-800B52717516}"/>
                </a:ext>
              </a:extLst>
            </p:cNvPr>
            <p:cNvSpPr/>
            <p:nvPr/>
          </p:nvSpPr>
          <p:spPr bwMode="auto">
            <a:xfrm>
              <a:off x="7999016" y="2832674"/>
              <a:ext cx="36000" cy="36000"/>
            </a:xfrm>
            <a:prstGeom prst="ellipse">
              <a:avLst/>
            </a:prstGeom>
            <a:grpFill/>
            <a:ln w="9525" cap="flat" cmpd="sng" algn="ctr">
              <a:solidFill>
                <a:srgbClr val="FFC000"/>
              </a:solidFill>
              <a:prstDash val="solid"/>
              <a:headEnd/>
              <a:tailEnd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fr-BE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BDB61B17-078B-4879-8338-131FF65A52EF}"/>
                </a:ext>
              </a:extLst>
            </p:cNvPr>
            <p:cNvSpPr/>
            <p:nvPr/>
          </p:nvSpPr>
          <p:spPr bwMode="auto">
            <a:xfrm>
              <a:off x="7918861" y="2857720"/>
              <a:ext cx="36000" cy="36000"/>
            </a:xfrm>
            <a:prstGeom prst="ellipse">
              <a:avLst/>
            </a:prstGeom>
            <a:grpFill/>
            <a:ln w="9525" cap="flat" cmpd="sng" algn="ctr">
              <a:solidFill>
                <a:srgbClr val="FFC000"/>
              </a:solidFill>
              <a:prstDash val="solid"/>
              <a:headEnd/>
              <a:tailEnd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fr-BE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710F7E4-A70C-4029-9CAA-E070F1696277}"/>
                </a:ext>
              </a:extLst>
            </p:cNvPr>
            <p:cNvSpPr/>
            <p:nvPr/>
          </p:nvSpPr>
          <p:spPr bwMode="auto">
            <a:xfrm>
              <a:off x="8071016" y="2875720"/>
              <a:ext cx="36000" cy="36000"/>
            </a:xfrm>
            <a:prstGeom prst="ellipse">
              <a:avLst/>
            </a:prstGeom>
            <a:grpFill/>
            <a:ln w="9525" cap="flat" cmpd="sng" algn="ctr">
              <a:solidFill>
                <a:srgbClr val="FFC000"/>
              </a:solidFill>
              <a:prstDash val="solid"/>
              <a:headEnd/>
              <a:tailEnd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fr-BE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451B3275-C8BB-4D46-8900-D5E6BEDE4C5C}"/>
                </a:ext>
              </a:extLst>
            </p:cNvPr>
            <p:cNvCxnSpPr/>
            <p:nvPr/>
          </p:nvCxnSpPr>
          <p:spPr>
            <a:xfrm>
              <a:off x="7767873" y="2730126"/>
              <a:ext cx="95032" cy="0"/>
            </a:xfrm>
            <a:prstGeom prst="line">
              <a:avLst/>
            </a:prstGeom>
            <a:grpFill/>
            <a:ln w="9525" cap="flat" cmpd="sng" algn="ctr">
              <a:solidFill>
                <a:srgbClr val="FFC000"/>
              </a:solidFill>
              <a:prstDash val="solid"/>
            </a:ln>
            <a:effectLst/>
          </p:spPr>
        </p:cxn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F1E7506B-B525-4375-AD0B-1C3378555891}"/>
                </a:ext>
              </a:extLst>
            </p:cNvPr>
            <p:cNvSpPr/>
            <p:nvPr/>
          </p:nvSpPr>
          <p:spPr bwMode="auto">
            <a:xfrm>
              <a:off x="8107016" y="2767506"/>
              <a:ext cx="36000" cy="36000"/>
            </a:xfrm>
            <a:prstGeom prst="ellipse">
              <a:avLst/>
            </a:prstGeom>
            <a:grpFill/>
            <a:ln w="9525" cap="flat" cmpd="sng" algn="ctr">
              <a:solidFill>
                <a:srgbClr val="FFC000"/>
              </a:solidFill>
              <a:prstDash val="solid"/>
              <a:headEnd/>
              <a:tailEnd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fr-BE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765B0694-2E8F-4DC4-AB5F-C6D9E72A6076}"/>
                </a:ext>
              </a:extLst>
            </p:cNvPr>
            <p:cNvCxnSpPr>
              <a:cxnSpLocks/>
            </p:cNvCxnSpPr>
            <p:nvPr/>
          </p:nvCxnSpPr>
          <p:spPr>
            <a:xfrm>
              <a:off x="7767873" y="2815286"/>
              <a:ext cx="102579" cy="39045"/>
            </a:xfrm>
            <a:prstGeom prst="line">
              <a:avLst/>
            </a:prstGeom>
            <a:grpFill/>
            <a:ln w="9525" cap="flat" cmpd="sng" algn="ctr">
              <a:solidFill>
                <a:srgbClr val="FFC000"/>
              </a:solidFill>
              <a:prstDash val="solid"/>
            </a:ln>
            <a:effectLst/>
          </p:spPr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39B4362A-2EDD-492B-B315-FAC897B57E56}"/>
                </a:ext>
              </a:extLst>
            </p:cNvPr>
            <p:cNvCxnSpPr>
              <a:cxnSpLocks/>
            </p:cNvCxnSpPr>
            <p:nvPr/>
          </p:nvCxnSpPr>
          <p:spPr>
            <a:xfrm>
              <a:off x="7767873" y="2764741"/>
              <a:ext cx="126084" cy="36800"/>
            </a:xfrm>
            <a:prstGeom prst="line">
              <a:avLst/>
            </a:prstGeom>
            <a:grpFill/>
            <a:ln w="9525" cap="flat" cmpd="sng" algn="ctr">
              <a:solidFill>
                <a:srgbClr val="FFC000"/>
              </a:solidFill>
              <a:prstDash val="solid"/>
            </a:ln>
            <a:effectLst/>
          </p:spPr>
        </p:cxnSp>
      </p:grpSp>
      <p:sp>
        <p:nvSpPr>
          <p:cNvPr id="44" name="Arrow: Striped Right 43">
            <a:extLst>
              <a:ext uri="{FF2B5EF4-FFF2-40B4-BE49-F238E27FC236}">
                <a16:creationId xmlns:a16="http://schemas.microsoft.com/office/drawing/2014/main" id="{887F2984-E179-4DB3-9707-C7741BA2621C}"/>
              </a:ext>
            </a:extLst>
          </p:cNvPr>
          <p:cNvSpPr/>
          <p:nvPr/>
        </p:nvSpPr>
        <p:spPr bwMode="auto">
          <a:xfrm>
            <a:off x="5898653" y="3695650"/>
            <a:ext cx="272100" cy="266448"/>
          </a:xfrm>
          <a:prstGeom prst="stripedRightArrow">
            <a:avLst/>
          </a:prstGeom>
          <a:solidFill>
            <a:srgbClr val="FFC000"/>
          </a:solidFill>
          <a:ln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l">
              <a:rot lat="0" lon="0" rev="204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–"/>
            </a:pPr>
            <a:endParaRPr lang="fr-BE" sz="1200" b="1" kern="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8034211-2243-45C5-8368-C9EF6308BB69}"/>
              </a:ext>
            </a:extLst>
          </p:cNvPr>
          <p:cNvSpPr txBox="1"/>
          <p:nvPr/>
        </p:nvSpPr>
        <p:spPr>
          <a:xfrm>
            <a:off x="6038448" y="3649454"/>
            <a:ext cx="2621250" cy="8287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FR" b="1" dirty="0">
                <a:solidFill>
                  <a:schemeClr val="bg1"/>
                </a:solidFill>
                <a:cs typeface="Arial" panose="020B0604020202020204" pitchFamily="34" charset="0"/>
                <a:sym typeface="Wingdings" panose="05000000000000000000" pitchFamily="2" charset="2"/>
              </a:rPr>
              <a:t>Réponse immunitaire appropriée et efficace</a:t>
            </a:r>
            <a:endParaRPr lang="fr-FR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F708C00-9914-45E3-BE11-42E77CA50768}"/>
              </a:ext>
            </a:extLst>
          </p:cNvPr>
          <p:cNvSpPr txBox="1"/>
          <p:nvPr/>
        </p:nvSpPr>
        <p:spPr>
          <a:xfrm>
            <a:off x="425295" y="1617804"/>
            <a:ext cx="293155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Fièvre (88 %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Toux sèche (68 %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Fatigue (38 %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sz="1600" dirty="0">
              <a:solidFill>
                <a:srgbClr val="000000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ED58DA0-F4E7-46AC-94CA-1C94515E14BC}"/>
              </a:ext>
            </a:extLst>
          </p:cNvPr>
          <p:cNvSpPr txBox="1"/>
          <p:nvPr/>
        </p:nvSpPr>
        <p:spPr>
          <a:xfrm>
            <a:off x="338937" y="1279250"/>
            <a:ext cx="25974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600" b="1" dirty="0">
                <a:solidFill>
                  <a:srgbClr val="000000"/>
                </a:solidFill>
              </a:rPr>
              <a:t>Symptômes courant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3865683-52EA-4EFD-8DFA-7071281EC30A}"/>
              </a:ext>
            </a:extLst>
          </p:cNvPr>
          <p:cNvSpPr txBox="1"/>
          <p:nvPr/>
        </p:nvSpPr>
        <p:spPr>
          <a:xfrm>
            <a:off x="317095" y="2479959"/>
            <a:ext cx="30438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600" b="1" dirty="0">
                <a:solidFill>
                  <a:srgbClr val="000000"/>
                </a:solidFill>
              </a:rPr>
              <a:t>Symptômes moins fréquent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430EB79-FC26-4A8B-B1EC-7C1A13C4ACCD}"/>
              </a:ext>
            </a:extLst>
          </p:cNvPr>
          <p:cNvSpPr txBox="1"/>
          <p:nvPr/>
        </p:nvSpPr>
        <p:spPr>
          <a:xfrm>
            <a:off x="338936" y="2851979"/>
            <a:ext cx="2383527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Perte d’odorat et/ou de goû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Mal de tê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Friss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Douleurs musculaires ou articulai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Eruption cutanée, décoloration sur les doigts ou sur les ortei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sz="1600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sz="1600" dirty="0">
              <a:solidFill>
                <a:srgbClr val="00000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B1701EA-5E74-493E-8B9D-AFF42B0217DB}"/>
              </a:ext>
            </a:extLst>
          </p:cNvPr>
          <p:cNvSpPr txBox="1"/>
          <p:nvPr/>
        </p:nvSpPr>
        <p:spPr>
          <a:xfrm>
            <a:off x="6148266" y="4740368"/>
            <a:ext cx="25569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200" i="1" dirty="0">
                <a:solidFill>
                  <a:srgbClr val="000000"/>
                </a:solidFill>
                <a:ea typeface="Myriad Web Pro"/>
                <a:cs typeface="Myriad Web Pro"/>
              </a:rPr>
              <a:t>**défini comme une absence de pneumonie ou une pneumonie légère </a:t>
            </a:r>
            <a:endParaRPr lang="fr-BE" sz="1200" i="1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5FF9CBF-9B5C-4EF0-A128-2E2DC91B9ED0}"/>
              </a:ext>
            </a:extLst>
          </p:cNvPr>
          <p:cNvSpPr txBox="1"/>
          <p:nvPr/>
        </p:nvSpPr>
        <p:spPr>
          <a:xfrm>
            <a:off x="576470" y="5555390"/>
            <a:ext cx="793142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400" b="1" dirty="0">
                <a:solidFill>
                  <a:srgbClr val="000000"/>
                </a:solidFill>
              </a:rPr>
              <a:t>Apparition des symptômes </a:t>
            </a:r>
            <a:r>
              <a:rPr lang="fr-BE" sz="1400" dirty="0">
                <a:solidFill>
                  <a:srgbClr val="000000"/>
                </a:solidFill>
              </a:rPr>
              <a:t>: en moyenne, </a:t>
            </a:r>
            <a:r>
              <a:rPr lang="fr-BE" sz="1400" b="1" dirty="0">
                <a:solidFill>
                  <a:srgbClr val="000000"/>
                </a:solidFill>
              </a:rPr>
              <a:t>2 à 14 jours </a:t>
            </a:r>
            <a:r>
              <a:rPr lang="fr-BE" sz="1400" dirty="0">
                <a:solidFill>
                  <a:srgbClr val="000000"/>
                </a:solidFill>
              </a:rPr>
              <a:t>après l'exposition. </a:t>
            </a:r>
          </a:p>
          <a:p>
            <a:r>
              <a:rPr lang="fr-BE" sz="1400" dirty="0">
                <a:solidFill>
                  <a:srgbClr val="000000"/>
                </a:solidFill>
              </a:rPr>
              <a:t>Le temps entre l'exposition au virus et le début des symptômes s'appelle la période d'incubation.</a:t>
            </a:r>
          </a:p>
          <a:p>
            <a:r>
              <a:rPr lang="fr-BE" sz="1400" dirty="0">
                <a:solidFill>
                  <a:srgbClr val="000000"/>
                </a:solidFill>
              </a:rPr>
              <a:t>Certains rapports indiquent que les personnes sans symptômes (ou avant l’apparition de ceux-ci) peuvent transmettre le virus.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5679D909-409B-430C-B5ED-403DBBA27693}"/>
              </a:ext>
            </a:extLst>
          </p:cNvPr>
          <p:cNvSpPr/>
          <p:nvPr/>
        </p:nvSpPr>
        <p:spPr>
          <a:xfrm>
            <a:off x="576470" y="5535408"/>
            <a:ext cx="7822096" cy="1004036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6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86974F3-8DAE-433B-9F26-42C2250E2117}"/>
              </a:ext>
            </a:extLst>
          </p:cNvPr>
          <p:cNvSpPr txBox="1"/>
          <p:nvPr/>
        </p:nvSpPr>
        <p:spPr>
          <a:xfrm>
            <a:off x="2924963" y="3487775"/>
            <a:ext cx="238352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Congestion nasa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Essouffl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Toux gras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Nausée et/ou vomiss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Diarrhée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4FF5E481-8C20-4968-85DC-BD302A19B74D}"/>
              </a:ext>
            </a:extLst>
          </p:cNvPr>
          <p:cNvGrpSpPr/>
          <p:nvPr/>
        </p:nvGrpSpPr>
        <p:grpSpPr>
          <a:xfrm>
            <a:off x="2584233" y="852892"/>
            <a:ext cx="3194400" cy="1746066"/>
            <a:chOff x="2775176" y="972407"/>
            <a:chExt cx="3194400" cy="1746066"/>
          </a:xfrm>
        </p:grpSpPr>
        <p:sp>
          <p:nvSpPr>
            <p:cNvPr id="74" name="Partial Circle 73">
              <a:extLst>
                <a:ext uri="{FF2B5EF4-FFF2-40B4-BE49-F238E27FC236}">
                  <a16:creationId xmlns:a16="http://schemas.microsoft.com/office/drawing/2014/main" id="{0C603932-2115-40FA-BBF2-60F71DBF00A8}"/>
                </a:ext>
              </a:extLst>
            </p:cNvPr>
            <p:cNvSpPr/>
            <p:nvPr/>
          </p:nvSpPr>
          <p:spPr>
            <a:xfrm>
              <a:off x="3706212" y="1530473"/>
              <a:ext cx="1188000" cy="1188000"/>
            </a:xfrm>
            <a:prstGeom prst="pie">
              <a:avLst>
                <a:gd name="adj1" fmla="val 19593703"/>
                <a:gd name="adj2" fmla="val 441103"/>
              </a:avLst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>
                <a:solidFill>
                  <a:schemeClr val="tx1"/>
                </a:solidFill>
              </a:endParaRPr>
            </a:p>
          </p:txBody>
        </p:sp>
        <p:sp>
          <p:nvSpPr>
            <p:cNvPr id="75" name="Partial Circle 74">
              <a:extLst>
                <a:ext uri="{FF2B5EF4-FFF2-40B4-BE49-F238E27FC236}">
                  <a16:creationId xmlns:a16="http://schemas.microsoft.com/office/drawing/2014/main" id="{88949700-13C4-49A7-8112-98AEB72FB372}"/>
                </a:ext>
              </a:extLst>
            </p:cNvPr>
            <p:cNvSpPr/>
            <p:nvPr/>
          </p:nvSpPr>
          <p:spPr>
            <a:xfrm>
              <a:off x="3706212" y="1530473"/>
              <a:ext cx="1188000" cy="1188000"/>
            </a:xfrm>
            <a:prstGeom prst="pie">
              <a:avLst>
                <a:gd name="adj1" fmla="val 298068"/>
                <a:gd name="adj2" fmla="val 1146294"/>
              </a:avLst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>
                <a:solidFill>
                  <a:schemeClr val="tx1"/>
                </a:solidFill>
              </a:endParaRPr>
            </a:p>
          </p:txBody>
        </p:sp>
        <p:sp>
          <p:nvSpPr>
            <p:cNvPr id="76" name="Partial Circle 75">
              <a:extLst>
                <a:ext uri="{FF2B5EF4-FFF2-40B4-BE49-F238E27FC236}">
                  <a16:creationId xmlns:a16="http://schemas.microsoft.com/office/drawing/2014/main" id="{55E7E075-2056-43D4-B65E-5EA7313C3C26}"/>
                </a:ext>
              </a:extLst>
            </p:cNvPr>
            <p:cNvSpPr/>
            <p:nvPr/>
          </p:nvSpPr>
          <p:spPr>
            <a:xfrm>
              <a:off x="3603180" y="1530473"/>
              <a:ext cx="1188000" cy="1188000"/>
            </a:xfrm>
            <a:prstGeom prst="pie">
              <a:avLst>
                <a:gd name="adj1" fmla="val 1141482"/>
                <a:gd name="adj2" fmla="val 19582191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>
                <a:solidFill>
                  <a:schemeClr val="tx1"/>
                </a:solidFill>
              </a:endParaRPr>
            </a:p>
          </p:txBody>
        </p: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CF35A335-7CFA-440A-8FF0-135A7DEBA748}"/>
                </a:ext>
              </a:extLst>
            </p:cNvPr>
            <p:cNvCxnSpPr/>
            <p:nvPr/>
          </p:nvCxnSpPr>
          <p:spPr>
            <a:xfrm>
              <a:off x="3822122" y="1436846"/>
              <a:ext cx="115910" cy="218940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35D0D3EB-08F0-4258-A812-5BFDD291BBA1}"/>
                </a:ext>
              </a:extLst>
            </p:cNvPr>
            <p:cNvSpPr/>
            <p:nvPr/>
          </p:nvSpPr>
          <p:spPr>
            <a:xfrm>
              <a:off x="3757728" y="1358144"/>
              <a:ext cx="108000" cy="108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/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1CB14212-5011-47E6-80E4-E90E4AF6BDAE}"/>
                </a:ext>
              </a:extLst>
            </p:cNvPr>
            <p:cNvSpPr txBox="1"/>
            <p:nvPr/>
          </p:nvSpPr>
          <p:spPr>
            <a:xfrm>
              <a:off x="2775176" y="972407"/>
              <a:ext cx="159967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2000" b="1" dirty="0">
                  <a:solidFill>
                    <a:srgbClr val="000000"/>
                  </a:solidFill>
                  <a:latin typeface="Calibri"/>
                  <a:ea typeface="Calibri"/>
                  <a:cs typeface="Calibri"/>
                </a:rPr>
                <a:t>Bénin 80,9 %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DDD1EDA7-FA97-4942-8A6E-97239D836528}"/>
                </a:ext>
              </a:extLst>
            </p:cNvPr>
            <p:cNvSpPr txBox="1"/>
            <p:nvPr/>
          </p:nvSpPr>
          <p:spPr>
            <a:xfrm>
              <a:off x="4410027" y="1050869"/>
              <a:ext cx="140698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dirty="0">
                  <a:solidFill>
                    <a:srgbClr val="000000"/>
                  </a:solidFill>
                  <a:latin typeface="Calibri"/>
                  <a:ea typeface="Calibri"/>
                  <a:cs typeface="Calibri"/>
                </a:rPr>
                <a:t>Etude* sur 44 672 patients</a:t>
              </a: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851CF6C0-6439-4571-8772-8757B11D4D0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819153" y="1810818"/>
              <a:ext cx="246844" cy="124836"/>
            </a:xfrm>
            <a:prstGeom prst="lin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12DA45E-3E61-43AA-9599-7F60418A64CD}"/>
                </a:ext>
              </a:extLst>
            </p:cNvPr>
            <p:cNvSpPr txBox="1"/>
            <p:nvPr/>
          </p:nvSpPr>
          <p:spPr>
            <a:xfrm>
              <a:off x="5093970" y="1645589"/>
              <a:ext cx="66531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Calibri"/>
                  <a:ea typeface="Calibri"/>
                  <a:cs typeface="Calibri"/>
                </a:rPr>
                <a:t>Grave</a:t>
              </a:r>
            </a:p>
          </p:txBody>
        </p: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97B2065F-F931-4B76-8D5C-B54A7356B489}"/>
                </a:ext>
              </a:extLst>
            </p:cNvPr>
            <p:cNvCxnSpPr>
              <a:cxnSpLocks/>
            </p:cNvCxnSpPr>
            <p:nvPr/>
          </p:nvCxnSpPr>
          <p:spPr>
            <a:xfrm>
              <a:off x="4873153" y="2236455"/>
              <a:ext cx="246844" cy="71757"/>
            </a:xfrm>
            <a:prstGeom prst="lin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124B7235-1797-463D-9579-3E8A03476C3C}"/>
                </a:ext>
              </a:extLst>
            </p:cNvPr>
            <p:cNvSpPr/>
            <p:nvPr/>
          </p:nvSpPr>
          <p:spPr>
            <a:xfrm>
              <a:off x="5098121" y="2272333"/>
              <a:ext cx="108000" cy="108000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/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210825DB-3DD6-431A-8008-1F4218D01E40}"/>
                </a:ext>
              </a:extLst>
            </p:cNvPr>
            <p:cNvSpPr txBox="1"/>
            <p:nvPr/>
          </p:nvSpPr>
          <p:spPr>
            <a:xfrm>
              <a:off x="5171784" y="2172444"/>
              <a:ext cx="79779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400" dirty="0">
                  <a:solidFill>
                    <a:schemeClr val="bg1">
                      <a:lumMod val="50000"/>
                    </a:schemeClr>
                  </a:solidFill>
                  <a:latin typeface="Calibri"/>
                  <a:ea typeface="Calibri"/>
                  <a:cs typeface="Calibri"/>
                </a:rPr>
                <a:t>Critique</a:t>
              </a: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E16E7477-8AA5-4B18-8B0F-46923EAA8C82}"/>
                </a:ext>
              </a:extLst>
            </p:cNvPr>
            <p:cNvSpPr/>
            <p:nvPr/>
          </p:nvSpPr>
          <p:spPr>
            <a:xfrm>
              <a:off x="5031248" y="1756818"/>
              <a:ext cx="108000" cy="108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/>
            </a:p>
          </p:txBody>
        </p:sp>
      </p:grpSp>
    </p:spTree>
    <p:extLst>
      <p:ext uri="{BB962C8B-B14F-4D97-AF65-F5344CB8AC3E}">
        <p14:creationId xmlns:p14="http://schemas.microsoft.com/office/powerpoint/2010/main" val="831588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72378F1-CC7C-4FC7-8B15-310512D1E5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72378F1-CC7C-4FC7-8B15-310512D1E5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41065B-BA25-4D6C-9F7E-44300FD941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BE" sz="30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47C5E00F-8478-41DB-9568-D122FFBFD076}"/>
              </a:ext>
            </a:extLst>
          </p:cNvPr>
          <p:cNvSpPr/>
          <p:nvPr/>
        </p:nvSpPr>
        <p:spPr>
          <a:xfrm>
            <a:off x="665371" y="2477921"/>
            <a:ext cx="3340416" cy="3460518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50800" dist="1270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9D64C8-F438-461A-AF1F-4BFDA9FF390E}"/>
              </a:ext>
            </a:extLst>
          </p:cNvPr>
          <p:cNvSpPr txBox="1"/>
          <p:nvPr/>
        </p:nvSpPr>
        <p:spPr>
          <a:xfrm>
            <a:off x="2706081" y="138150"/>
            <a:ext cx="37375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2800" dirty="0" err="1">
                <a:solidFill>
                  <a:schemeClr val="accent6"/>
                </a:solidFill>
              </a:rPr>
              <a:t>Immunopathologie</a:t>
            </a:r>
            <a:endParaRPr lang="fr-BE" sz="2800" dirty="0">
              <a:solidFill>
                <a:schemeClr val="accent6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A3FCE7B-EA8B-49DE-B1E9-ED6737A2B029}"/>
              </a:ext>
            </a:extLst>
          </p:cNvPr>
          <p:cNvSpPr txBox="1"/>
          <p:nvPr/>
        </p:nvSpPr>
        <p:spPr>
          <a:xfrm>
            <a:off x="736012" y="2850182"/>
            <a:ext cx="3269775" cy="16326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fr-BE" sz="1600" b="1" dirty="0">
                <a:solidFill>
                  <a:srgbClr val="FFFFFF"/>
                </a:solidFill>
                <a:latin typeface="Arial"/>
              </a:rPr>
              <a:t>± 14% progressent vers une pneumonie sévère et  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fr-BE" sz="1600" b="1" dirty="0">
                <a:solidFill>
                  <a:srgbClr val="FFFFFF"/>
                </a:solidFill>
                <a:latin typeface="Arial"/>
              </a:rPr>
              <a:t>± 5% développent un syndrome de détresse respiratoire aigüe (SDRA), </a:t>
            </a:r>
            <a:br>
              <a:rPr lang="fr-BE" sz="1600" b="1" dirty="0">
                <a:solidFill>
                  <a:srgbClr val="FFFFFF"/>
                </a:solidFill>
                <a:latin typeface="Arial"/>
              </a:rPr>
            </a:br>
            <a:r>
              <a:rPr lang="fr-BE" sz="1600" b="1" dirty="0">
                <a:solidFill>
                  <a:srgbClr val="FFFFFF"/>
                </a:solidFill>
                <a:latin typeface="Arial"/>
              </a:rPr>
              <a:t>un choc septique et/ou une défaillance des organes (MOF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4B745E0-6C77-4723-8C36-3DEF9182BEB6}"/>
              </a:ext>
            </a:extLst>
          </p:cNvPr>
          <p:cNvSpPr txBox="1"/>
          <p:nvPr/>
        </p:nvSpPr>
        <p:spPr>
          <a:xfrm>
            <a:off x="1072421" y="4650600"/>
            <a:ext cx="303865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fr-BE" sz="1600" b="1" dirty="0">
                <a:solidFill>
                  <a:srgbClr val="FFFFFF"/>
                </a:solidFill>
                <a:latin typeface="Arial"/>
              </a:rPr>
              <a:t>Réponse hyper-inflammatoire pathogénique au cours du temps</a:t>
            </a:r>
          </a:p>
          <a:p>
            <a:pPr defTabSz="914400"/>
            <a:r>
              <a:rPr lang="fr-BE" sz="1600" b="1" i="1" dirty="0">
                <a:solidFill>
                  <a:srgbClr val="FFFFFF"/>
                </a:solidFill>
                <a:latin typeface="Arial"/>
              </a:rPr>
              <a:t>(‘orage cytokinique’)</a:t>
            </a:r>
          </a:p>
        </p:txBody>
      </p:sp>
      <p:sp>
        <p:nvSpPr>
          <p:cNvPr id="15" name="Arrow: Striped Right 14">
            <a:extLst>
              <a:ext uri="{FF2B5EF4-FFF2-40B4-BE49-F238E27FC236}">
                <a16:creationId xmlns:a16="http://schemas.microsoft.com/office/drawing/2014/main" id="{90B794F5-DC47-4127-88D4-99D12BC092AD}"/>
              </a:ext>
            </a:extLst>
          </p:cNvPr>
          <p:cNvSpPr/>
          <p:nvPr/>
        </p:nvSpPr>
        <p:spPr bwMode="auto">
          <a:xfrm>
            <a:off x="800321" y="4746469"/>
            <a:ext cx="272100" cy="266448"/>
          </a:xfrm>
          <a:prstGeom prst="stripedRightArrow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l">
              <a:rot lat="0" lon="0" rev="20400000"/>
            </a:lightRig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 defTabSz="914400" eaLnBrk="0" hangingPunct="0">
              <a:buClr>
                <a:srgbClr val="FFFFFF"/>
              </a:buClr>
              <a:buFont typeface="Arial" pitchFamily="34" charset="0"/>
              <a:buChar char="–"/>
            </a:pPr>
            <a:endParaRPr lang="fr-BE" sz="1200" b="1" kern="0" dirty="0" err="1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6" name="Picture 2" descr="C:\Users\amacleod\AppData\Local\Microsoft\Windows\Temporary Internet Files\Content.IE5\KE75UARO\MiLjagAia.png">
            <a:extLst>
              <a:ext uri="{FF2B5EF4-FFF2-40B4-BE49-F238E27FC236}">
                <a16:creationId xmlns:a16="http://schemas.microsoft.com/office/drawing/2014/main" id="{805E6781-0AB6-4CA5-9FBA-E571F20C49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</a:blip>
          <a:srcRect/>
          <a:stretch>
            <a:fillRect/>
          </a:stretch>
        </p:blipFill>
        <p:spPr bwMode="auto">
          <a:xfrm>
            <a:off x="5436287" y="997445"/>
            <a:ext cx="2591858" cy="4750401"/>
          </a:xfrm>
          <a:prstGeom prst="rect">
            <a:avLst/>
          </a:prstGeom>
          <a:noFill/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38E64C6-EAC9-424E-832D-0F3221AD6E2B}"/>
              </a:ext>
            </a:extLst>
          </p:cNvPr>
          <p:cNvSpPr txBox="1"/>
          <p:nvPr/>
        </p:nvSpPr>
        <p:spPr>
          <a:xfrm>
            <a:off x="5872146" y="1738912"/>
            <a:ext cx="304380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Difficultés respiratoi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Pneumonie sévè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BE" sz="1400" dirty="0">
                <a:solidFill>
                  <a:srgbClr val="000000"/>
                </a:solidFill>
              </a:rPr>
              <a:t>Gonflement du tissu des sacs alvéolaires des poumons</a:t>
            </a:r>
            <a:endParaRPr lang="fr-BE" sz="1600" dirty="0">
              <a:solidFill>
                <a:srgbClr val="000000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55213DA-7543-405B-8FBD-33738531552C}"/>
              </a:ext>
            </a:extLst>
          </p:cNvPr>
          <p:cNvSpPr txBox="1"/>
          <p:nvPr/>
        </p:nvSpPr>
        <p:spPr>
          <a:xfrm>
            <a:off x="6920589" y="1372481"/>
            <a:ext cx="19719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1600" b="1" dirty="0">
                <a:solidFill>
                  <a:srgbClr val="000000"/>
                </a:solidFill>
              </a:rPr>
              <a:t>Symptômes grave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29661DC-A552-4F95-B2D4-423EAC84671B}"/>
              </a:ext>
            </a:extLst>
          </p:cNvPr>
          <p:cNvSpPr txBox="1"/>
          <p:nvPr/>
        </p:nvSpPr>
        <p:spPr>
          <a:xfrm>
            <a:off x="4139946" y="5097590"/>
            <a:ext cx="455496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000000"/>
                </a:solidFill>
                <a:ea typeface="Calibri"/>
                <a:cs typeface="Calibri"/>
              </a:rPr>
              <a:t>Décès </a:t>
            </a:r>
          </a:p>
          <a:p>
            <a:pPr marL="268288"/>
            <a:r>
              <a:rPr lang="fr-FR" sz="1400" i="1" dirty="0">
                <a:solidFill>
                  <a:srgbClr val="000000"/>
                </a:solidFill>
                <a:ea typeface="Calibri"/>
                <a:cs typeface="Calibri"/>
              </a:rPr>
              <a:t>(Taux de mortalité varie très fort en fonction des pays et de l’âge de la population)</a:t>
            </a:r>
            <a:endParaRPr lang="fr-BE" sz="1400" i="1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09C4E6D-A117-45C4-9C25-2488AD6AAF63}"/>
              </a:ext>
            </a:extLst>
          </p:cNvPr>
          <p:cNvSpPr txBox="1"/>
          <p:nvPr/>
        </p:nvSpPr>
        <p:spPr>
          <a:xfrm>
            <a:off x="4139946" y="2664769"/>
            <a:ext cx="4820196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Syndrome de détresse respiratoire aigüe (SDRA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BE" sz="1400" dirty="0">
                <a:solidFill>
                  <a:srgbClr val="000000"/>
                </a:solidFill>
              </a:rPr>
              <a:t>Inflammation des poum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BE" sz="1400" dirty="0">
                <a:solidFill>
                  <a:srgbClr val="000000"/>
                </a:solidFill>
              </a:rPr>
              <a:t>Fuite de fluides dans les sacs alvéolair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BE" sz="1400" dirty="0">
                <a:solidFill>
                  <a:srgbClr val="000000"/>
                </a:solidFill>
              </a:rPr>
              <a:t>Transport d’oxygène limité vers les organ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B052BDC-2906-443B-BE85-03AEDEDBBA97}"/>
              </a:ext>
            </a:extLst>
          </p:cNvPr>
          <p:cNvSpPr txBox="1"/>
          <p:nvPr/>
        </p:nvSpPr>
        <p:spPr>
          <a:xfrm>
            <a:off x="6468136" y="3615353"/>
            <a:ext cx="248127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Difficultés pour marc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Toux avec du sa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Troubles de la coagul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Choc septiq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sz="1600" dirty="0">
              <a:solidFill>
                <a:srgbClr val="000000"/>
              </a:solidFill>
            </a:endParaRPr>
          </a:p>
        </p:txBody>
      </p:sp>
      <p:sp>
        <p:nvSpPr>
          <p:cNvPr id="20" name="Partial Circle 19">
            <a:extLst>
              <a:ext uri="{FF2B5EF4-FFF2-40B4-BE49-F238E27FC236}">
                <a16:creationId xmlns:a16="http://schemas.microsoft.com/office/drawing/2014/main" id="{E1DBDDC3-F990-4DA3-8B3E-39A76A4A5583}"/>
              </a:ext>
            </a:extLst>
          </p:cNvPr>
          <p:cNvSpPr/>
          <p:nvPr/>
        </p:nvSpPr>
        <p:spPr>
          <a:xfrm>
            <a:off x="2434277" y="1025318"/>
            <a:ext cx="1188000" cy="1188000"/>
          </a:xfrm>
          <a:prstGeom prst="pie">
            <a:avLst>
              <a:gd name="adj1" fmla="val 19593703"/>
              <a:gd name="adj2" fmla="val 441103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chemeClr val="tx1"/>
              </a:solidFill>
            </a:endParaRPr>
          </a:p>
        </p:txBody>
      </p:sp>
      <p:sp>
        <p:nvSpPr>
          <p:cNvPr id="21" name="Partial Circle 20">
            <a:extLst>
              <a:ext uri="{FF2B5EF4-FFF2-40B4-BE49-F238E27FC236}">
                <a16:creationId xmlns:a16="http://schemas.microsoft.com/office/drawing/2014/main" id="{36B6D5CC-8B5E-46BE-BB0A-17A349465B94}"/>
              </a:ext>
            </a:extLst>
          </p:cNvPr>
          <p:cNvSpPr/>
          <p:nvPr/>
        </p:nvSpPr>
        <p:spPr>
          <a:xfrm>
            <a:off x="2434277" y="1025318"/>
            <a:ext cx="1188000" cy="1188000"/>
          </a:xfrm>
          <a:prstGeom prst="pie">
            <a:avLst>
              <a:gd name="adj1" fmla="val 298068"/>
              <a:gd name="adj2" fmla="val 1146294"/>
            </a:avLst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chemeClr val="tx1"/>
              </a:solidFill>
            </a:endParaRPr>
          </a:p>
        </p:txBody>
      </p:sp>
      <p:sp>
        <p:nvSpPr>
          <p:cNvPr id="22" name="Partial Circle 21">
            <a:extLst>
              <a:ext uri="{FF2B5EF4-FFF2-40B4-BE49-F238E27FC236}">
                <a16:creationId xmlns:a16="http://schemas.microsoft.com/office/drawing/2014/main" id="{9CBA958D-32F8-4E5A-A8C7-AB93FD4DA750}"/>
              </a:ext>
            </a:extLst>
          </p:cNvPr>
          <p:cNvSpPr/>
          <p:nvPr/>
        </p:nvSpPr>
        <p:spPr>
          <a:xfrm>
            <a:off x="2331245" y="1025318"/>
            <a:ext cx="1188000" cy="1188000"/>
          </a:xfrm>
          <a:prstGeom prst="pie">
            <a:avLst>
              <a:gd name="adj1" fmla="val 1141482"/>
              <a:gd name="adj2" fmla="val 19582191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chemeClr val="tx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5683829-3B0B-4E8C-A4F6-27AE19427BBB}"/>
              </a:ext>
            </a:extLst>
          </p:cNvPr>
          <p:cNvCxnSpPr>
            <a:cxnSpLocks/>
          </p:cNvCxnSpPr>
          <p:nvPr/>
        </p:nvCxnSpPr>
        <p:spPr>
          <a:xfrm flipV="1">
            <a:off x="3491871" y="1322646"/>
            <a:ext cx="246844" cy="124836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:a16="http://schemas.microsoft.com/office/drawing/2014/main" id="{17B0497E-4A2B-415E-8E0C-C25B77A02A83}"/>
              </a:ext>
            </a:extLst>
          </p:cNvPr>
          <p:cNvSpPr/>
          <p:nvPr/>
        </p:nvSpPr>
        <p:spPr>
          <a:xfrm>
            <a:off x="3738715" y="1253283"/>
            <a:ext cx="108000" cy="1080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6328E1C-4D12-479A-99FF-F034DE68F4E9}"/>
              </a:ext>
            </a:extLst>
          </p:cNvPr>
          <p:cNvSpPr txBox="1"/>
          <p:nvPr/>
        </p:nvSpPr>
        <p:spPr>
          <a:xfrm>
            <a:off x="3804030" y="1086873"/>
            <a:ext cx="17665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Grave 13,8 %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00F88DE-D3B2-4F61-9ED6-013CE0F4F8AE}"/>
              </a:ext>
            </a:extLst>
          </p:cNvPr>
          <p:cNvCxnSpPr>
            <a:cxnSpLocks/>
          </p:cNvCxnSpPr>
          <p:nvPr/>
        </p:nvCxnSpPr>
        <p:spPr>
          <a:xfrm>
            <a:off x="3570705" y="1713438"/>
            <a:ext cx="246844" cy="71757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722467EC-A18C-4BC1-A7D9-74BB1F3567F7}"/>
              </a:ext>
            </a:extLst>
          </p:cNvPr>
          <p:cNvSpPr/>
          <p:nvPr/>
        </p:nvSpPr>
        <p:spPr>
          <a:xfrm>
            <a:off x="3792715" y="1753177"/>
            <a:ext cx="108000" cy="108000"/>
          </a:xfrm>
          <a:prstGeom prst="ellipse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C648B98-8901-4A00-9559-8C53F45ADA31}"/>
              </a:ext>
            </a:extLst>
          </p:cNvPr>
          <p:cNvSpPr txBox="1"/>
          <p:nvPr/>
        </p:nvSpPr>
        <p:spPr>
          <a:xfrm>
            <a:off x="3878161" y="1607122"/>
            <a:ext cx="22566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Critique 4,7 %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397BD3C-4734-4F3A-90BB-AB73FD22208E}"/>
              </a:ext>
            </a:extLst>
          </p:cNvPr>
          <p:cNvSpPr txBox="1"/>
          <p:nvPr/>
        </p:nvSpPr>
        <p:spPr>
          <a:xfrm>
            <a:off x="1034715" y="1066812"/>
            <a:ext cx="14069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Etude* sur 44 672 patient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969D1E1-4835-4635-ACC7-3693265F1079}"/>
              </a:ext>
            </a:extLst>
          </p:cNvPr>
          <p:cNvSpPr txBox="1"/>
          <p:nvPr/>
        </p:nvSpPr>
        <p:spPr>
          <a:xfrm>
            <a:off x="4005787" y="5991359"/>
            <a:ext cx="500013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400" b="1" dirty="0">
                <a:solidFill>
                  <a:srgbClr val="000000"/>
                </a:solidFill>
              </a:rPr>
              <a:t>Facteurs de risque</a:t>
            </a:r>
            <a:r>
              <a:rPr lang="fr-BE" sz="1400" dirty="0">
                <a:solidFill>
                  <a:srgbClr val="000000"/>
                </a:solidFill>
              </a:rPr>
              <a:t> : Age, diabète, obésité, hypertension artérielle, problème cardiovasculaire, maladie pulmonaire chronique, </a:t>
            </a:r>
            <a:r>
              <a:rPr lang="fr-BE" sz="1400" dirty="0" err="1">
                <a:solidFill>
                  <a:srgbClr val="000000"/>
                </a:solidFill>
              </a:rPr>
              <a:t>immuno-dépression</a:t>
            </a:r>
            <a:r>
              <a:rPr lang="fr-BE" sz="1400" dirty="0">
                <a:solidFill>
                  <a:srgbClr val="000000"/>
                </a:solidFill>
              </a:rPr>
              <a:t>, maladie rénale chroniqu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DE4EF2-F688-433D-BB60-50CBC19E4A8C}"/>
              </a:ext>
            </a:extLst>
          </p:cNvPr>
          <p:cNvSpPr/>
          <p:nvPr/>
        </p:nvSpPr>
        <p:spPr>
          <a:xfrm>
            <a:off x="3960004" y="6045176"/>
            <a:ext cx="5000138" cy="69352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pic>
        <p:nvPicPr>
          <p:cNvPr id="11" name="Graphic 10" descr="Lungs">
            <a:extLst>
              <a:ext uri="{FF2B5EF4-FFF2-40B4-BE49-F238E27FC236}">
                <a16:creationId xmlns:a16="http://schemas.microsoft.com/office/drawing/2014/main" id="{4A96273C-E430-4B57-9993-AC95E2A5D81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20542337">
            <a:off x="18461" y="1566845"/>
            <a:ext cx="1502379" cy="1502379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C4DD5363-F7E0-4636-BD01-0FA8C7A9A2A8}"/>
              </a:ext>
            </a:extLst>
          </p:cNvPr>
          <p:cNvSpPr txBox="1"/>
          <p:nvPr/>
        </p:nvSpPr>
        <p:spPr>
          <a:xfrm>
            <a:off x="4139946" y="3590020"/>
            <a:ext cx="225580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Problème cardiaq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Forte fièv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Confu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Lymphopén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600" dirty="0">
                <a:solidFill>
                  <a:srgbClr val="000000"/>
                </a:solidFill>
              </a:rPr>
              <a:t>Défaillance des organes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D5827769-451D-4930-A274-519E8D6858A7}"/>
              </a:ext>
            </a:extLst>
          </p:cNvPr>
          <p:cNvCxnSpPr/>
          <p:nvPr/>
        </p:nvCxnSpPr>
        <p:spPr>
          <a:xfrm>
            <a:off x="2397647" y="983890"/>
            <a:ext cx="115910" cy="218940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Oval 49">
            <a:extLst>
              <a:ext uri="{FF2B5EF4-FFF2-40B4-BE49-F238E27FC236}">
                <a16:creationId xmlns:a16="http://schemas.microsoft.com/office/drawing/2014/main" id="{8BC45521-68E2-4B77-BB65-7E96FCC7D01C}"/>
              </a:ext>
            </a:extLst>
          </p:cNvPr>
          <p:cNvSpPr/>
          <p:nvPr/>
        </p:nvSpPr>
        <p:spPr>
          <a:xfrm>
            <a:off x="2333253" y="905188"/>
            <a:ext cx="108000" cy="108000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9DBD992-EBF5-4015-A66B-9C16559A4404}"/>
              </a:ext>
            </a:extLst>
          </p:cNvPr>
          <p:cNvSpPr txBox="1"/>
          <p:nvPr/>
        </p:nvSpPr>
        <p:spPr>
          <a:xfrm>
            <a:off x="1876398" y="608077"/>
            <a:ext cx="8333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dirty="0">
                <a:solidFill>
                  <a:schemeClr val="bg1">
                    <a:lumMod val="50000"/>
                  </a:schemeClr>
                </a:solidFill>
                <a:latin typeface="Calibri"/>
                <a:ea typeface="Calibri"/>
                <a:cs typeface="Calibri"/>
              </a:rPr>
              <a:t>Bénin</a:t>
            </a:r>
          </a:p>
        </p:txBody>
      </p:sp>
    </p:spTree>
    <p:extLst>
      <p:ext uri="{BB962C8B-B14F-4D97-AF65-F5344CB8AC3E}">
        <p14:creationId xmlns:p14="http://schemas.microsoft.com/office/powerpoint/2010/main" val="2917123571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DA05DD6E-BA24-440F-AF03-A8F6CC5049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8064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23" name="Object 22" hidden="1">
                        <a:extLst>
                          <a:ext uri="{FF2B5EF4-FFF2-40B4-BE49-F238E27FC236}">
                            <a16:creationId xmlns:a16="http://schemas.microsoft.com/office/drawing/2014/main" id="{DA05DD6E-BA24-440F-AF03-A8F6CC504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3FA820E9-26B4-4292-BDF5-C002139D5C8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BE" sz="30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665304F4-BEAB-48D9-96D5-F4876B7474F5}"/>
              </a:ext>
            </a:extLst>
          </p:cNvPr>
          <p:cNvSpPr/>
          <p:nvPr/>
        </p:nvSpPr>
        <p:spPr>
          <a:xfrm>
            <a:off x="2812869" y="1428206"/>
            <a:ext cx="3239589" cy="3579223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E5B8ACE3-2E28-4367-AF1C-5CD0C77AE11B}"/>
              </a:ext>
            </a:extLst>
          </p:cNvPr>
          <p:cNvSpPr/>
          <p:nvPr/>
        </p:nvSpPr>
        <p:spPr>
          <a:xfrm>
            <a:off x="3381101" y="2281840"/>
            <a:ext cx="2103120" cy="64443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2FF4C6B-80D4-4A2A-8ADA-2E687F0B719C}"/>
              </a:ext>
            </a:extLst>
          </p:cNvPr>
          <p:cNvSpPr/>
          <p:nvPr/>
        </p:nvSpPr>
        <p:spPr>
          <a:xfrm>
            <a:off x="3117668" y="3217817"/>
            <a:ext cx="2629989" cy="64443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10A3931A-662C-4498-AF34-5FCEA5B0B3B5}"/>
              </a:ext>
            </a:extLst>
          </p:cNvPr>
          <p:cNvSpPr/>
          <p:nvPr/>
        </p:nvSpPr>
        <p:spPr>
          <a:xfrm>
            <a:off x="2812870" y="4169889"/>
            <a:ext cx="3239588" cy="64443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D0AF658-DF20-46F9-B740-298E31303C64}"/>
              </a:ext>
            </a:extLst>
          </p:cNvPr>
          <p:cNvSpPr txBox="1"/>
          <p:nvPr/>
        </p:nvSpPr>
        <p:spPr>
          <a:xfrm>
            <a:off x="3696786" y="2256664"/>
            <a:ext cx="14717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dirty="0">
                <a:solidFill>
                  <a:srgbClr val="000000"/>
                </a:solidFill>
              </a:rPr>
              <a:t>Barrières naturel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6D8D45D-5EBD-41AE-8AAC-9001C6E43F37}"/>
              </a:ext>
            </a:extLst>
          </p:cNvPr>
          <p:cNvSpPr txBox="1"/>
          <p:nvPr/>
        </p:nvSpPr>
        <p:spPr>
          <a:xfrm>
            <a:off x="3117667" y="3190744"/>
            <a:ext cx="26299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dirty="0">
                <a:solidFill>
                  <a:srgbClr val="000000"/>
                </a:solidFill>
              </a:rPr>
              <a:t>Réponse </a:t>
            </a:r>
          </a:p>
          <a:p>
            <a:pPr algn="ctr"/>
            <a:r>
              <a:rPr lang="fr-BE" dirty="0">
                <a:solidFill>
                  <a:srgbClr val="000000"/>
                </a:solidFill>
              </a:rPr>
              <a:t>immunitaire inné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669A35-1960-4BC1-9581-A519186A93B4}"/>
              </a:ext>
            </a:extLst>
          </p:cNvPr>
          <p:cNvSpPr txBox="1"/>
          <p:nvPr/>
        </p:nvSpPr>
        <p:spPr>
          <a:xfrm>
            <a:off x="3117667" y="4156440"/>
            <a:ext cx="26909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dirty="0">
                <a:solidFill>
                  <a:srgbClr val="000000"/>
                </a:solidFill>
              </a:rPr>
              <a:t>Réponse </a:t>
            </a:r>
          </a:p>
          <a:p>
            <a:pPr algn="ctr"/>
            <a:r>
              <a:rPr lang="fr-BE" dirty="0">
                <a:solidFill>
                  <a:srgbClr val="000000"/>
                </a:solidFill>
              </a:rPr>
              <a:t>immunitaire adaptative</a:t>
            </a:r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FCF90A9C-3E01-49B7-9A87-4B4475713CE4}"/>
              </a:ext>
            </a:extLst>
          </p:cNvPr>
          <p:cNvSpPr/>
          <p:nvPr/>
        </p:nvSpPr>
        <p:spPr>
          <a:xfrm>
            <a:off x="4362991" y="2970398"/>
            <a:ext cx="139337" cy="191202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5D5F2C95-C1D6-4A77-8DFD-941B6D6108E6}"/>
              </a:ext>
            </a:extLst>
          </p:cNvPr>
          <p:cNvSpPr/>
          <p:nvPr/>
        </p:nvSpPr>
        <p:spPr>
          <a:xfrm>
            <a:off x="4362990" y="3889324"/>
            <a:ext cx="139337" cy="191202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51E38CB-E6F3-4D15-A625-2E69EBB3EC86}"/>
              </a:ext>
            </a:extLst>
          </p:cNvPr>
          <p:cNvSpPr txBox="1"/>
          <p:nvPr/>
        </p:nvSpPr>
        <p:spPr>
          <a:xfrm>
            <a:off x="1006801" y="2902995"/>
            <a:ext cx="18267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BE" sz="1200" i="1" dirty="0">
                <a:solidFill>
                  <a:srgbClr val="000000"/>
                </a:solidFill>
              </a:rPr>
              <a:t>Première étape qui permet de détecter le danger et constitue la première ligne de défense dans les minutes, heures qui suivent l’infec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885702-F76E-45FC-9FB5-67EE465EC5BF}"/>
              </a:ext>
            </a:extLst>
          </p:cNvPr>
          <p:cNvSpPr txBox="1"/>
          <p:nvPr/>
        </p:nvSpPr>
        <p:spPr>
          <a:xfrm>
            <a:off x="6258460" y="3760111"/>
            <a:ext cx="235876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200" i="1" dirty="0">
                <a:solidFill>
                  <a:srgbClr val="000000"/>
                </a:solidFill>
              </a:rPr>
              <a:t>Deuxième ligne de défense plus tardive basée sur la production d’anticorps et la réponse immunitaire cellulaire (lymphocytes T). Elle se caractérise par sa capacité de mémoi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954E03A-4F17-4D0E-B452-90B2BDBD4126}"/>
              </a:ext>
            </a:extLst>
          </p:cNvPr>
          <p:cNvSpPr txBox="1"/>
          <p:nvPr/>
        </p:nvSpPr>
        <p:spPr>
          <a:xfrm>
            <a:off x="5691964" y="2178186"/>
            <a:ext cx="25583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200" i="1" dirty="0">
                <a:solidFill>
                  <a:srgbClr val="000000"/>
                </a:solidFill>
              </a:rPr>
              <a:t>Barrières physiques (peau, muqueuses), chimiques (comme l’acide de l’estomac) et les microbiotes (cutané, intestinal, vaginal, etc.)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67D1C88-BA20-4FAF-805D-7C3ACF3CFDA6}"/>
              </a:ext>
            </a:extLst>
          </p:cNvPr>
          <p:cNvSpPr/>
          <p:nvPr/>
        </p:nvSpPr>
        <p:spPr>
          <a:xfrm>
            <a:off x="1006800" y="2842012"/>
            <a:ext cx="1884987" cy="1343794"/>
          </a:xfrm>
          <a:prstGeom prst="round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A1CBCB6F-558E-4FC2-9B3A-0DC69425F4A3}"/>
              </a:ext>
            </a:extLst>
          </p:cNvPr>
          <p:cNvSpPr/>
          <p:nvPr/>
        </p:nvSpPr>
        <p:spPr>
          <a:xfrm>
            <a:off x="5620294" y="2119146"/>
            <a:ext cx="2629989" cy="979804"/>
          </a:xfrm>
          <a:prstGeom prst="round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921506E4-EA0E-4E30-BC1C-5FEC68E4CAFB}"/>
              </a:ext>
            </a:extLst>
          </p:cNvPr>
          <p:cNvSpPr/>
          <p:nvPr/>
        </p:nvSpPr>
        <p:spPr>
          <a:xfrm>
            <a:off x="6183092" y="3707296"/>
            <a:ext cx="2434134" cy="1315121"/>
          </a:xfrm>
          <a:prstGeom prst="round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9B3E21-0E70-4984-BC80-BECE51D88C88}"/>
              </a:ext>
            </a:extLst>
          </p:cNvPr>
          <p:cNvCxnSpPr>
            <a:cxnSpLocks/>
            <a:stCxn id="14" idx="3"/>
            <a:endCxn id="7" idx="1"/>
          </p:cNvCxnSpPr>
          <p:nvPr/>
        </p:nvCxnSpPr>
        <p:spPr>
          <a:xfrm>
            <a:off x="2891787" y="3513909"/>
            <a:ext cx="22588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DA21435-B27C-4B4B-970D-D80D60606046}"/>
              </a:ext>
            </a:extLst>
          </p:cNvPr>
          <p:cNvCxnSpPr>
            <a:cxnSpLocks/>
            <a:stCxn id="3" idx="3"/>
            <a:endCxn id="15" idx="1"/>
          </p:cNvCxnSpPr>
          <p:nvPr/>
        </p:nvCxnSpPr>
        <p:spPr>
          <a:xfrm>
            <a:off x="5484221" y="2604057"/>
            <a:ext cx="136073" cy="499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C7941D6-1967-4415-94D7-49B18754AB3E}"/>
              </a:ext>
            </a:extLst>
          </p:cNvPr>
          <p:cNvCxnSpPr>
            <a:cxnSpLocks/>
            <a:stCxn id="5" idx="3"/>
            <a:endCxn id="16" idx="1"/>
          </p:cNvCxnSpPr>
          <p:nvPr/>
        </p:nvCxnSpPr>
        <p:spPr>
          <a:xfrm flipV="1">
            <a:off x="6052458" y="4364857"/>
            <a:ext cx="130634" cy="12724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54B4AEFC-FC89-4501-A1E8-F887E60FA87A}"/>
              </a:ext>
            </a:extLst>
          </p:cNvPr>
          <p:cNvSpPr txBox="1"/>
          <p:nvPr/>
        </p:nvSpPr>
        <p:spPr>
          <a:xfrm>
            <a:off x="2677880" y="1497169"/>
            <a:ext cx="35095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2800" dirty="0">
                <a:solidFill>
                  <a:srgbClr val="000000"/>
                </a:solidFill>
              </a:rPr>
              <a:t>IMMUNITÉ</a:t>
            </a: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30A16F36-A7EE-4395-9622-8789C56861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Le système immunitaire</a:t>
            </a:r>
          </a:p>
        </p:txBody>
      </p:sp>
    </p:spTree>
    <p:extLst>
      <p:ext uri="{BB962C8B-B14F-4D97-AF65-F5344CB8AC3E}">
        <p14:creationId xmlns:p14="http://schemas.microsoft.com/office/powerpoint/2010/main" val="34665777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A5812D6-2F81-4417-B9BC-D730429627EE}"/>
              </a:ext>
            </a:extLst>
          </p:cNvPr>
          <p:cNvCxnSpPr>
            <a:cxnSpLocks/>
          </p:cNvCxnSpPr>
          <p:nvPr/>
        </p:nvCxnSpPr>
        <p:spPr>
          <a:xfrm flipV="1">
            <a:off x="3225618" y="1785370"/>
            <a:ext cx="4297623" cy="2910874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47557685-1B8C-4E21-B549-0ABAE83D9B7B}"/>
              </a:ext>
            </a:extLst>
          </p:cNvPr>
          <p:cNvSpPr/>
          <p:nvPr/>
        </p:nvSpPr>
        <p:spPr>
          <a:xfrm rot="19132615">
            <a:off x="4351482" y="3420518"/>
            <a:ext cx="527730" cy="804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B534659-A442-4AA3-9DDD-E569435C6937}"/>
              </a:ext>
            </a:extLst>
          </p:cNvPr>
          <p:cNvSpPr/>
          <p:nvPr/>
        </p:nvSpPr>
        <p:spPr>
          <a:xfrm rot="19132615">
            <a:off x="5227626" y="2757504"/>
            <a:ext cx="527730" cy="8043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6BA04E4-0F0D-48A2-9C69-D5E39DE8E542}"/>
              </a:ext>
            </a:extLst>
          </p:cNvPr>
          <p:cNvSpPr/>
          <p:nvPr/>
        </p:nvSpPr>
        <p:spPr>
          <a:xfrm>
            <a:off x="6919721" y="4331773"/>
            <a:ext cx="2112724" cy="880489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99B20B9-9C1A-4C61-A3AB-650D0A30DD5D}"/>
              </a:ext>
            </a:extLst>
          </p:cNvPr>
          <p:cNvSpPr/>
          <p:nvPr/>
        </p:nvSpPr>
        <p:spPr>
          <a:xfrm>
            <a:off x="3636107" y="4265702"/>
            <a:ext cx="2871766" cy="880489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1DE30C5-9D50-42B3-85A2-8263563713D2}"/>
              </a:ext>
            </a:extLst>
          </p:cNvPr>
          <p:cNvSpPr/>
          <p:nvPr/>
        </p:nvSpPr>
        <p:spPr>
          <a:xfrm>
            <a:off x="6179970" y="2605155"/>
            <a:ext cx="2871766" cy="880489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934D41E-C2B8-4CB3-B334-CCFFBEB24545}"/>
              </a:ext>
            </a:extLst>
          </p:cNvPr>
          <p:cNvSpPr/>
          <p:nvPr/>
        </p:nvSpPr>
        <p:spPr>
          <a:xfrm>
            <a:off x="757791" y="1178693"/>
            <a:ext cx="3419606" cy="880489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66BE94E-A0B8-499F-902B-4F8E64260F67}"/>
              </a:ext>
            </a:extLst>
          </p:cNvPr>
          <p:cNvSpPr txBox="1">
            <a:spLocks/>
          </p:cNvSpPr>
          <p:nvPr/>
        </p:nvSpPr>
        <p:spPr>
          <a:xfrm>
            <a:off x="0" y="301706"/>
            <a:ext cx="9144000" cy="600404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fr-BE" sz="2800" b="1" dirty="0"/>
              <a:t>De quoi avons-nous besoin pour combattre le COVID-19 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97AE4FC-6CD1-4BC2-8509-AD4191382730}"/>
              </a:ext>
            </a:extLst>
          </p:cNvPr>
          <p:cNvSpPr txBox="1"/>
          <p:nvPr/>
        </p:nvSpPr>
        <p:spPr>
          <a:xfrm>
            <a:off x="1073030" y="1207645"/>
            <a:ext cx="2768252" cy="4172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BE" sz="2400" b="1" dirty="0">
                <a:solidFill>
                  <a:srgbClr val="000000"/>
                </a:solidFill>
              </a:rPr>
              <a:t>Réponse innée appropriée</a:t>
            </a:r>
          </a:p>
          <a:p>
            <a:pPr algn="ctr"/>
            <a:endParaRPr lang="fr-BE" sz="2400" b="1" dirty="0">
              <a:solidFill>
                <a:srgbClr val="00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D68D23E-3ED6-4911-9EF3-08BB65F2CAEA}"/>
              </a:ext>
            </a:extLst>
          </p:cNvPr>
          <p:cNvSpPr txBox="1"/>
          <p:nvPr/>
        </p:nvSpPr>
        <p:spPr>
          <a:xfrm>
            <a:off x="6304185" y="2844208"/>
            <a:ext cx="2863323" cy="5240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BE" sz="2400" b="1" dirty="0">
                <a:solidFill>
                  <a:schemeClr val="bg1"/>
                </a:solidFill>
              </a:rPr>
              <a:t>Lymphocytes T CD8+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04645B9-238C-4943-A57F-541F1585F5B8}"/>
              </a:ext>
            </a:extLst>
          </p:cNvPr>
          <p:cNvSpPr txBox="1"/>
          <p:nvPr/>
        </p:nvSpPr>
        <p:spPr>
          <a:xfrm>
            <a:off x="3759432" y="4506903"/>
            <a:ext cx="3283613" cy="5240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BE" sz="2400" b="1" dirty="0">
                <a:solidFill>
                  <a:schemeClr val="bg1"/>
                </a:solidFill>
              </a:rPr>
              <a:t>Lymphocytes T CD4+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248E58F-B501-4436-AB62-8797C68DE1D5}"/>
              </a:ext>
            </a:extLst>
          </p:cNvPr>
          <p:cNvSpPr txBox="1"/>
          <p:nvPr/>
        </p:nvSpPr>
        <p:spPr>
          <a:xfrm>
            <a:off x="7166370" y="4567172"/>
            <a:ext cx="1619426" cy="4224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BE" sz="2400" b="1" dirty="0">
                <a:solidFill>
                  <a:schemeClr val="bg1"/>
                </a:solidFill>
              </a:rPr>
              <a:t>Anticorp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65EE609-8EEE-4E3B-95B6-D078DB2D11C0}"/>
              </a:ext>
            </a:extLst>
          </p:cNvPr>
          <p:cNvSpPr txBox="1"/>
          <p:nvPr/>
        </p:nvSpPr>
        <p:spPr>
          <a:xfrm>
            <a:off x="6646146" y="3557766"/>
            <a:ext cx="2402569" cy="4143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BE" sz="1600" i="1" dirty="0">
                <a:solidFill>
                  <a:srgbClr val="000000"/>
                </a:solidFill>
              </a:rPr>
              <a:t>Pour éliminer en  2</a:t>
            </a:r>
            <a:r>
              <a:rPr lang="fr-BE" sz="1600" i="1" baseline="30000" dirty="0">
                <a:solidFill>
                  <a:srgbClr val="000000"/>
                </a:solidFill>
              </a:rPr>
              <a:t>ème</a:t>
            </a:r>
            <a:r>
              <a:rPr lang="fr-BE" sz="1600" i="1" dirty="0">
                <a:solidFill>
                  <a:srgbClr val="000000"/>
                </a:solidFill>
              </a:rPr>
              <a:t> ligne de défens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3259AA7-09F5-439B-AF1A-0E87BB257FFF}"/>
              </a:ext>
            </a:extLst>
          </p:cNvPr>
          <p:cNvSpPr txBox="1"/>
          <p:nvPr/>
        </p:nvSpPr>
        <p:spPr>
          <a:xfrm>
            <a:off x="3908333" y="5187473"/>
            <a:ext cx="2328093" cy="5240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BE" sz="1600" i="1" dirty="0">
                <a:solidFill>
                  <a:srgbClr val="000000"/>
                </a:solidFill>
              </a:rPr>
              <a:t>Pour éliminer en  2</a:t>
            </a:r>
            <a:r>
              <a:rPr lang="fr-BE" sz="1600" i="1" baseline="30000" dirty="0">
                <a:solidFill>
                  <a:srgbClr val="000000"/>
                </a:solidFill>
              </a:rPr>
              <a:t>ème</a:t>
            </a:r>
            <a:r>
              <a:rPr lang="fr-BE" sz="1600" i="1" dirty="0">
                <a:solidFill>
                  <a:srgbClr val="000000"/>
                </a:solidFill>
              </a:rPr>
              <a:t> ligne de défense et pour aider les cellules T CD8+ à se développer et les cellules B à produire des anticor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70472BD-7DCC-49DC-A41C-CFB03C6A2AFA}"/>
              </a:ext>
            </a:extLst>
          </p:cNvPr>
          <p:cNvSpPr txBox="1"/>
          <p:nvPr/>
        </p:nvSpPr>
        <p:spPr>
          <a:xfrm>
            <a:off x="6927198" y="5334994"/>
            <a:ext cx="2112724" cy="645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BE" sz="1600" i="1" dirty="0">
                <a:solidFill>
                  <a:srgbClr val="000000"/>
                </a:solidFill>
              </a:rPr>
              <a:t>Pour empêcher l’infection et éliminer en  2</a:t>
            </a:r>
            <a:r>
              <a:rPr lang="fr-BE" sz="1600" i="1" baseline="30000" dirty="0">
                <a:solidFill>
                  <a:srgbClr val="000000"/>
                </a:solidFill>
              </a:rPr>
              <a:t>ème</a:t>
            </a:r>
            <a:r>
              <a:rPr lang="fr-BE" sz="1600" i="1" dirty="0">
                <a:solidFill>
                  <a:srgbClr val="000000"/>
                </a:solidFill>
              </a:rPr>
              <a:t> ligne de défense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F459841-F4E5-41D9-B363-7B3EC2E62BAB}"/>
              </a:ext>
            </a:extLst>
          </p:cNvPr>
          <p:cNvSpPr txBox="1"/>
          <p:nvPr/>
        </p:nvSpPr>
        <p:spPr>
          <a:xfrm>
            <a:off x="119287" y="2252599"/>
            <a:ext cx="2095881" cy="5867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BE" sz="1600" i="1" dirty="0">
                <a:solidFill>
                  <a:srgbClr val="000000"/>
                </a:solidFill>
              </a:rPr>
              <a:t>Inflammation pour éliminer en 1</a:t>
            </a:r>
            <a:r>
              <a:rPr lang="fr-BE" sz="1600" i="1" baseline="30000" dirty="0">
                <a:solidFill>
                  <a:srgbClr val="000000"/>
                </a:solidFill>
              </a:rPr>
              <a:t>ère</a:t>
            </a:r>
            <a:r>
              <a:rPr lang="fr-BE" sz="1600" i="1" dirty="0">
                <a:solidFill>
                  <a:srgbClr val="000000"/>
                </a:solidFill>
              </a:rPr>
              <a:t> ligne de défense et orienter la réponse adaptative</a:t>
            </a:r>
          </a:p>
        </p:txBody>
      </p:sp>
      <p:pic>
        <p:nvPicPr>
          <p:cNvPr id="18" name="Graphic 17" descr="Arrow Slight curve">
            <a:extLst>
              <a:ext uri="{FF2B5EF4-FFF2-40B4-BE49-F238E27FC236}">
                <a16:creationId xmlns:a16="http://schemas.microsoft.com/office/drawing/2014/main" id="{E1BCA9FE-FF9D-48A5-998E-DCE2617B26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2002249">
            <a:off x="4158147" y="3341191"/>
            <a:ext cx="914400" cy="914400"/>
          </a:xfrm>
          <a:prstGeom prst="rect">
            <a:avLst/>
          </a:prstGeom>
        </p:spPr>
      </p:pic>
      <p:pic>
        <p:nvPicPr>
          <p:cNvPr id="19" name="Graphic 18" descr="Arrow Clockwise curve">
            <a:extLst>
              <a:ext uri="{FF2B5EF4-FFF2-40B4-BE49-F238E27FC236}">
                <a16:creationId xmlns:a16="http://schemas.microsoft.com/office/drawing/2014/main" id="{2860F5E4-4A47-4C17-B00E-018090D232F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3954575">
            <a:off x="5558694" y="3468421"/>
            <a:ext cx="914400" cy="914400"/>
          </a:xfrm>
          <a:prstGeom prst="rect">
            <a:avLst/>
          </a:prstGeom>
        </p:spPr>
      </p:pic>
      <p:pic>
        <p:nvPicPr>
          <p:cNvPr id="20" name="Graphic 19" descr="Arrow Counterclockwise curve">
            <a:extLst>
              <a:ext uri="{FF2B5EF4-FFF2-40B4-BE49-F238E27FC236}">
                <a16:creationId xmlns:a16="http://schemas.microsoft.com/office/drawing/2014/main" id="{EB054962-5148-4718-B605-E0FF0576D61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6861103">
            <a:off x="6076906" y="4629073"/>
            <a:ext cx="914400" cy="914400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14F79D8-05B7-4275-95B7-83D406EEE4A7}"/>
              </a:ext>
            </a:extLst>
          </p:cNvPr>
          <p:cNvCxnSpPr>
            <a:cxnSpLocks/>
          </p:cNvCxnSpPr>
          <p:nvPr/>
        </p:nvCxnSpPr>
        <p:spPr>
          <a:xfrm flipV="1">
            <a:off x="1134557" y="3394218"/>
            <a:ext cx="2243574" cy="2875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BC9269E8-21C8-46D3-8FEF-0AD4DFFEC380}"/>
              </a:ext>
            </a:extLst>
          </p:cNvPr>
          <p:cNvSpPr txBox="1"/>
          <p:nvPr/>
        </p:nvSpPr>
        <p:spPr>
          <a:xfrm>
            <a:off x="2186266" y="2249866"/>
            <a:ext cx="2604231" cy="8320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BE" sz="1600" i="1" dirty="0">
                <a:solidFill>
                  <a:srgbClr val="000000"/>
                </a:solidFill>
              </a:rPr>
              <a:t>Résolution pour contrôler l’inflammation, réparer les tissus endommagés et orienter la réponse adaptative</a:t>
            </a:r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95C1C90C-D698-48CC-917A-E23DE445C811}"/>
              </a:ext>
            </a:extLst>
          </p:cNvPr>
          <p:cNvSpPr/>
          <p:nvPr/>
        </p:nvSpPr>
        <p:spPr>
          <a:xfrm>
            <a:off x="2155428" y="3435500"/>
            <a:ext cx="400502" cy="625006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pic>
        <p:nvPicPr>
          <p:cNvPr id="24" name="Graphic 23" descr="Arrow Slight curve">
            <a:extLst>
              <a:ext uri="{FF2B5EF4-FFF2-40B4-BE49-F238E27FC236}">
                <a16:creationId xmlns:a16="http://schemas.microsoft.com/office/drawing/2014/main" id="{2CFDC2ED-0AE5-4460-81A7-C1E09FF3153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13774207">
            <a:off x="5007771" y="2703452"/>
            <a:ext cx="914400" cy="914400"/>
          </a:xfrm>
          <a:prstGeom prst="rect">
            <a:avLst/>
          </a:prstGeom>
        </p:spPr>
      </p:pic>
      <p:pic>
        <p:nvPicPr>
          <p:cNvPr id="25" name="Graphic 24" descr="Lungs">
            <a:extLst>
              <a:ext uri="{FF2B5EF4-FFF2-40B4-BE49-F238E27FC236}">
                <a16:creationId xmlns:a16="http://schemas.microsoft.com/office/drawing/2014/main" id="{795CE15F-C626-4D3F-8C79-A8DE7717770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90497" y="972468"/>
            <a:ext cx="1502379" cy="1502379"/>
          </a:xfrm>
          <a:prstGeom prst="rect">
            <a:avLst/>
          </a:prstGeom>
        </p:spPr>
      </p:pic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1E826D6D-11EF-4C82-9E5A-6313FA4006AF}"/>
              </a:ext>
            </a:extLst>
          </p:cNvPr>
          <p:cNvSpPr/>
          <p:nvPr/>
        </p:nvSpPr>
        <p:spPr>
          <a:xfrm>
            <a:off x="189281" y="5119118"/>
            <a:ext cx="3419606" cy="880489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81B0AB4-7677-4F43-8621-EAA7924CE9E9}"/>
              </a:ext>
            </a:extLst>
          </p:cNvPr>
          <p:cNvSpPr txBox="1"/>
          <p:nvPr/>
        </p:nvSpPr>
        <p:spPr>
          <a:xfrm>
            <a:off x="504520" y="5148070"/>
            <a:ext cx="2768252" cy="4172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fr-BE" sz="2400" b="1" dirty="0">
                <a:solidFill>
                  <a:schemeClr val="bg1"/>
                </a:solidFill>
              </a:rPr>
              <a:t>Réponse adaptative appropriée</a:t>
            </a:r>
          </a:p>
          <a:p>
            <a:pPr algn="ctr"/>
            <a:endParaRPr lang="fr-BE" sz="2400" b="1" dirty="0">
              <a:solidFill>
                <a:schemeClr val="bg1"/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E740BA8-6646-4A89-824B-DC05BC13CBA7}"/>
              </a:ext>
            </a:extLst>
          </p:cNvPr>
          <p:cNvGrpSpPr/>
          <p:nvPr/>
        </p:nvGrpSpPr>
        <p:grpSpPr>
          <a:xfrm rot="6184284">
            <a:off x="7854375" y="1139689"/>
            <a:ext cx="954865" cy="1250255"/>
            <a:chOff x="9116221" y="1087259"/>
            <a:chExt cx="1656592" cy="1975715"/>
          </a:xfrm>
        </p:grpSpPr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B861566A-A648-4F66-872B-48D78F9F5298}"/>
                </a:ext>
              </a:extLst>
            </p:cNvPr>
            <p:cNvSpPr>
              <a:spLocks/>
            </p:cNvSpPr>
            <p:nvPr/>
          </p:nvSpPr>
          <p:spPr bwMode="auto">
            <a:xfrm rot="16510945">
              <a:off x="8966239" y="1253946"/>
              <a:ext cx="1973262" cy="1639887"/>
            </a:xfrm>
            <a:custGeom>
              <a:avLst/>
              <a:gdLst>
                <a:gd name="T0" fmla="*/ 2000 w 2563"/>
                <a:gd name="T1" fmla="*/ 1427 h 2131"/>
                <a:gd name="T2" fmla="*/ 2022 w 2563"/>
                <a:gd name="T3" fmla="*/ 1432 h 2131"/>
                <a:gd name="T4" fmla="*/ 2070 w 2563"/>
                <a:gd name="T5" fmla="*/ 1470 h 2131"/>
                <a:gd name="T6" fmla="*/ 2297 w 2563"/>
                <a:gd name="T7" fmla="*/ 1638 h 2131"/>
                <a:gd name="T8" fmla="*/ 2383 w 2563"/>
                <a:gd name="T9" fmla="*/ 1681 h 2131"/>
                <a:gd name="T10" fmla="*/ 2506 w 2563"/>
                <a:gd name="T11" fmla="*/ 1719 h 2131"/>
                <a:gd name="T12" fmla="*/ 2563 w 2563"/>
                <a:gd name="T13" fmla="*/ 1601 h 2131"/>
                <a:gd name="T14" fmla="*/ 2362 w 2563"/>
                <a:gd name="T15" fmla="*/ 1510 h 2131"/>
                <a:gd name="T16" fmla="*/ 2148 w 2563"/>
                <a:gd name="T17" fmla="*/ 1392 h 2131"/>
                <a:gd name="T18" fmla="*/ 1976 w 2563"/>
                <a:gd name="T19" fmla="*/ 1280 h 2131"/>
                <a:gd name="T20" fmla="*/ 1923 w 2563"/>
                <a:gd name="T21" fmla="*/ 1221 h 2131"/>
                <a:gd name="T22" fmla="*/ 1866 w 2563"/>
                <a:gd name="T23" fmla="*/ 1114 h 2131"/>
                <a:gd name="T24" fmla="*/ 1864 w 2563"/>
                <a:gd name="T25" fmla="*/ 1057 h 2131"/>
                <a:gd name="T26" fmla="*/ 1893 w 2563"/>
                <a:gd name="T27" fmla="*/ 983 h 2131"/>
                <a:gd name="T28" fmla="*/ 1990 w 2563"/>
                <a:gd name="T29" fmla="*/ 851 h 2131"/>
                <a:gd name="T30" fmla="*/ 2035 w 2563"/>
                <a:gd name="T31" fmla="*/ 752 h 2131"/>
                <a:gd name="T32" fmla="*/ 2054 w 2563"/>
                <a:gd name="T33" fmla="*/ 613 h 2131"/>
                <a:gd name="T34" fmla="*/ 2032 w 2563"/>
                <a:gd name="T35" fmla="*/ 420 h 2131"/>
                <a:gd name="T36" fmla="*/ 1955 w 2563"/>
                <a:gd name="T37" fmla="*/ 252 h 2131"/>
                <a:gd name="T38" fmla="*/ 1866 w 2563"/>
                <a:gd name="T39" fmla="*/ 145 h 2131"/>
                <a:gd name="T40" fmla="*/ 1767 w 2563"/>
                <a:gd name="T41" fmla="*/ 83 h 2131"/>
                <a:gd name="T42" fmla="*/ 1620 w 2563"/>
                <a:gd name="T43" fmla="*/ 35 h 2131"/>
                <a:gd name="T44" fmla="*/ 1435 w 2563"/>
                <a:gd name="T45" fmla="*/ 0 h 2131"/>
                <a:gd name="T46" fmla="*/ 1299 w 2563"/>
                <a:gd name="T47" fmla="*/ 11 h 2131"/>
                <a:gd name="T48" fmla="*/ 1141 w 2563"/>
                <a:gd name="T49" fmla="*/ 59 h 2131"/>
                <a:gd name="T50" fmla="*/ 1004 w 2563"/>
                <a:gd name="T51" fmla="*/ 118 h 2131"/>
                <a:gd name="T52" fmla="*/ 889 w 2563"/>
                <a:gd name="T53" fmla="*/ 195 h 2131"/>
                <a:gd name="T54" fmla="*/ 766 w 2563"/>
                <a:gd name="T55" fmla="*/ 308 h 2131"/>
                <a:gd name="T56" fmla="*/ 664 w 2563"/>
                <a:gd name="T57" fmla="*/ 428 h 2131"/>
                <a:gd name="T58" fmla="*/ 632 w 2563"/>
                <a:gd name="T59" fmla="*/ 452 h 2131"/>
                <a:gd name="T60" fmla="*/ 557 w 2563"/>
                <a:gd name="T61" fmla="*/ 442 h 2131"/>
                <a:gd name="T62" fmla="*/ 367 w 2563"/>
                <a:gd name="T63" fmla="*/ 378 h 2131"/>
                <a:gd name="T64" fmla="*/ 268 w 2563"/>
                <a:gd name="T65" fmla="*/ 313 h 2131"/>
                <a:gd name="T66" fmla="*/ 172 w 2563"/>
                <a:gd name="T67" fmla="*/ 228 h 2131"/>
                <a:gd name="T68" fmla="*/ 549 w 2563"/>
                <a:gd name="T69" fmla="*/ 602 h 2131"/>
                <a:gd name="T70" fmla="*/ 506 w 2563"/>
                <a:gd name="T71" fmla="*/ 833 h 2131"/>
                <a:gd name="T72" fmla="*/ 498 w 2563"/>
                <a:gd name="T73" fmla="*/ 1159 h 2131"/>
                <a:gd name="T74" fmla="*/ 525 w 2563"/>
                <a:gd name="T75" fmla="*/ 1365 h 2131"/>
                <a:gd name="T76" fmla="*/ 121 w 2563"/>
                <a:gd name="T77" fmla="*/ 1593 h 2131"/>
                <a:gd name="T78" fmla="*/ 613 w 2563"/>
                <a:gd name="T79" fmla="*/ 1636 h 2131"/>
                <a:gd name="T80" fmla="*/ 699 w 2563"/>
                <a:gd name="T81" fmla="*/ 1778 h 2131"/>
                <a:gd name="T82" fmla="*/ 761 w 2563"/>
                <a:gd name="T83" fmla="*/ 1863 h 2131"/>
                <a:gd name="T84" fmla="*/ 852 w 2563"/>
                <a:gd name="T85" fmla="*/ 1944 h 2131"/>
                <a:gd name="T86" fmla="*/ 1031 w 2563"/>
                <a:gd name="T87" fmla="*/ 2051 h 2131"/>
                <a:gd name="T88" fmla="*/ 1248 w 2563"/>
                <a:gd name="T89" fmla="*/ 2123 h 2131"/>
                <a:gd name="T90" fmla="*/ 1385 w 2563"/>
                <a:gd name="T91" fmla="*/ 2128 h 2131"/>
                <a:gd name="T92" fmla="*/ 1494 w 2563"/>
                <a:gd name="T93" fmla="*/ 2112 h 2131"/>
                <a:gd name="T94" fmla="*/ 1620 w 2563"/>
                <a:gd name="T95" fmla="*/ 2067 h 2131"/>
                <a:gd name="T96" fmla="*/ 1783 w 2563"/>
                <a:gd name="T97" fmla="*/ 1981 h 2131"/>
                <a:gd name="T98" fmla="*/ 1866 w 2563"/>
                <a:gd name="T99" fmla="*/ 1909 h 2131"/>
                <a:gd name="T100" fmla="*/ 1955 w 2563"/>
                <a:gd name="T101" fmla="*/ 1791 h 2131"/>
                <a:gd name="T102" fmla="*/ 2014 w 2563"/>
                <a:gd name="T103" fmla="*/ 1681 h 2131"/>
                <a:gd name="T104" fmla="*/ 2022 w 2563"/>
                <a:gd name="T105" fmla="*/ 1588 h 2131"/>
                <a:gd name="T106" fmla="*/ 2006 w 2563"/>
                <a:gd name="T107" fmla="*/ 1462 h 2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63" h="2131">
                  <a:moveTo>
                    <a:pt x="2003" y="1456"/>
                  </a:moveTo>
                  <a:lnTo>
                    <a:pt x="1998" y="1427"/>
                  </a:lnTo>
                  <a:lnTo>
                    <a:pt x="2000" y="1427"/>
                  </a:lnTo>
                  <a:lnTo>
                    <a:pt x="2006" y="1427"/>
                  </a:lnTo>
                  <a:lnTo>
                    <a:pt x="2011" y="1427"/>
                  </a:lnTo>
                  <a:lnTo>
                    <a:pt x="2022" y="1432"/>
                  </a:lnTo>
                  <a:lnTo>
                    <a:pt x="2035" y="1440"/>
                  </a:lnTo>
                  <a:lnTo>
                    <a:pt x="2051" y="1451"/>
                  </a:lnTo>
                  <a:lnTo>
                    <a:pt x="2070" y="1470"/>
                  </a:lnTo>
                  <a:lnTo>
                    <a:pt x="2115" y="1510"/>
                  </a:lnTo>
                  <a:lnTo>
                    <a:pt x="2166" y="1547"/>
                  </a:lnTo>
                  <a:lnTo>
                    <a:pt x="2297" y="1638"/>
                  </a:lnTo>
                  <a:lnTo>
                    <a:pt x="2319" y="1649"/>
                  </a:lnTo>
                  <a:lnTo>
                    <a:pt x="2338" y="1662"/>
                  </a:lnTo>
                  <a:lnTo>
                    <a:pt x="2383" y="1681"/>
                  </a:lnTo>
                  <a:lnTo>
                    <a:pt x="2426" y="1697"/>
                  </a:lnTo>
                  <a:lnTo>
                    <a:pt x="2469" y="1708"/>
                  </a:lnTo>
                  <a:lnTo>
                    <a:pt x="2506" y="1719"/>
                  </a:lnTo>
                  <a:lnTo>
                    <a:pt x="2536" y="1724"/>
                  </a:lnTo>
                  <a:lnTo>
                    <a:pt x="2563" y="1727"/>
                  </a:lnTo>
                  <a:lnTo>
                    <a:pt x="2563" y="1601"/>
                  </a:lnTo>
                  <a:lnTo>
                    <a:pt x="2520" y="1582"/>
                  </a:lnTo>
                  <a:lnTo>
                    <a:pt x="2445" y="1550"/>
                  </a:lnTo>
                  <a:lnTo>
                    <a:pt x="2362" y="1510"/>
                  </a:lnTo>
                  <a:lnTo>
                    <a:pt x="2284" y="1472"/>
                  </a:lnTo>
                  <a:lnTo>
                    <a:pt x="2217" y="1435"/>
                  </a:lnTo>
                  <a:lnTo>
                    <a:pt x="2148" y="1392"/>
                  </a:lnTo>
                  <a:lnTo>
                    <a:pt x="2022" y="1312"/>
                  </a:lnTo>
                  <a:lnTo>
                    <a:pt x="1998" y="1296"/>
                  </a:lnTo>
                  <a:lnTo>
                    <a:pt x="1976" y="1280"/>
                  </a:lnTo>
                  <a:lnTo>
                    <a:pt x="1957" y="1264"/>
                  </a:lnTo>
                  <a:lnTo>
                    <a:pt x="1939" y="1242"/>
                  </a:lnTo>
                  <a:lnTo>
                    <a:pt x="1923" y="1221"/>
                  </a:lnTo>
                  <a:lnTo>
                    <a:pt x="1907" y="1194"/>
                  </a:lnTo>
                  <a:lnTo>
                    <a:pt x="1874" y="1132"/>
                  </a:lnTo>
                  <a:lnTo>
                    <a:pt x="1866" y="1114"/>
                  </a:lnTo>
                  <a:lnTo>
                    <a:pt x="1861" y="1095"/>
                  </a:lnTo>
                  <a:lnTo>
                    <a:pt x="1861" y="1076"/>
                  </a:lnTo>
                  <a:lnTo>
                    <a:pt x="1864" y="1057"/>
                  </a:lnTo>
                  <a:lnTo>
                    <a:pt x="1869" y="1039"/>
                  </a:lnTo>
                  <a:lnTo>
                    <a:pt x="1874" y="1020"/>
                  </a:lnTo>
                  <a:lnTo>
                    <a:pt x="1893" y="983"/>
                  </a:lnTo>
                  <a:lnTo>
                    <a:pt x="1917" y="948"/>
                  </a:lnTo>
                  <a:lnTo>
                    <a:pt x="1944" y="913"/>
                  </a:lnTo>
                  <a:lnTo>
                    <a:pt x="1990" y="851"/>
                  </a:lnTo>
                  <a:lnTo>
                    <a:pt x="2008" y="822"/>
                  </a:lnTo>
                  <a:lnTo>
                    <a:pt x="2022" y="790"/>
                  </a:lnTo>
                  <a:lnTo>
                    <a:pt x="2035" y="752"/>
                  </a:lnTo>
                  <a:lnTo>
                    <a:pt x="2043" y="712"/>
                  </a:lnTo>
                  <a:lnTo>
                    <a:pt x="2051" y="667"/>
                  </a:lnTo>
                  <a:lnTo>
                    <a:pt x="2054" y="613"/>
                  </a:lnTo>
                  <a:lnTo>
                    <a:pt x="2057" y="557"/>
                  </a:lnTo>
                  <a:lnTo>
                    <a:pt x="2054" y="493"/>
                  </a:lnTo>
                  <a:lnTo>
                    <a:pt x="2032" y="420"/>
                  </a:lnTo>
                  <a:lnTo>
                    <a:pt x="2011" y="356"/>
                  </a:lnTo>
                  <a:lnTo>
                    <a:pt x="1984" y="300"/>
                  </a:lnTo>
                  <a:lnTo>
                    <a:pt x="1955" y="252"/>
                  </a:lnTo>
                  <a:lnTo>
                    <a:pt x="1925" y="209"/>
                  </a:lnTo>
                  <a:lnTo>
                    <a:pt x="1896" y="174"/>
                  </a:lnTo>
                  <a:lnTo>
                    <a:pt x="1866" y="145"/>
                  </a:lnTo>
                  <a:lnTo>
                    <a:pt x="1837" y="121"/>
                  </a:lnTo>
                  <a:lnTo>
                    <a:pt x="1805" y="102"/>
                  </a:lnTo>
                  <a:lnTo>
                    <a:pt x="1767" y="83"/>
                  </a:lnTo>
                  <a:lnTo>
                    <a:pt x="1722" y="64"/>
                  </a:lnTo>
                  <a:lnTo>
                    <a:pt x="1671" y="48"/>
                  </a:lnTo>
                  <a:lnTo>
                    <a:pt x="1620" y="35"/>
                  </a:lnTo>
                  <a:lnTo>
                    <a:pt x="1567" y="24"/>
                  </a:lnTo>
                  <a:lnTo>
                    <a:pt x="1459" y="5"/>
                  </a:lnTo>
                  <a:lnTo>
                    <a:pt x="1435" y="0"/>
                  </a:lnTo>
                  <a:lnTo>
                    <a:pt x="1409" y="0"/>
                  </a:lnTo>
                  <a:lnTo>
                    <a:pt x="1355" y="3"/>
                  </a:lnTo>
                  <a:lnTo>
                    <a:pt x="1299" y="11"/>
                  </a:lnTo>
                  <a:lnTo>
                    <a:pt x="1245" y="24"/>
                  </a:lnTo>
                  <a:lnTo>
                    <a:pt x="1192" y="40"/>
                  </a:lnTo>
                  <a:lnTo>
                    <a:pt x="1141" y="59"/>
                  </a:lnTo>
                  <a:lnTo>
                    <a:pt x="1093" y="78"/>
                  </a:lnTo>
                  <a:lnTo>
                    <a:pt x="1047" y="96"/>
                  </a:lnTo>
                  <a:lnTo>
                    <a:pt x="1004" y="118"/>
                  </a:lnTo>
                  <a:lnTo>
                    <a:pt x="964" y="142"/>
                  </a:lnTo>
                  <a:lnTo>
                    <a:pt x="927" y="169"/>
                  </a:lnTo>
                  <a:lnTo>
                    <a:pt x="889" y="195"/>
                  </a:lnTo>
                  <a:lnTo>
                    <a:pt x="828" y="249"/>
                  </a:lnTo>
                  <a:lnTo>
                    <a:pt x="782" y="289"/>
                  </a:lnTo>
                  <a:lnTo>
                    <a:pt x="766" y="308"/>
                  </a:lnTo>
                  <a:lnTo>
                    <a:pt x="745" y="332"/>
                  </a:lnTo>
                  <a:lnTo>
                    <a:pt x="702" y="383"/>
                  </a:lnTo>
                  <a:lnTo>
                    <a:pt x="664" y="428"/>
                  </a:lnTo>
                  <a:lnTo>
                    <a:pt x="646" y="444"/>
                  </a:lnTo>
                  <a:lnTo>
                    <a:pt x="640" y="450"/>
                  </a:lnTo>
                  <a:lnTo>
                    <a:pt x="632" y="452"/>
                  </a:lnTo>
                  <a:lnTo>
                    <a:pt x="616" y="452"/>
                  </a:lnTo>
                  <a:lnTo>
                    <a:pt x="589" y="450"/>
                  </a:lnTo>
                  <a:lnTo>
                    <a:pt x="557" y="442"/>
                  </a:lnTo>
                  <a:lnTo>
                    <a:pt x="520" y="431"/>
                  </a:lnTo>
                  <a:lnTo>
                    <a:pt x="442" y="407"/>
                  </a:lnTo>
                  <a:lnTo>
                    <a:pt x="367" y="378"/>
                  </a:lnTo>
                  <a:lnTo>
                    <a:pt x="335" y="359"/>
                  </a:lnTo>
                  <a:lnTo>
                    <a:pt x="300" y="337"/>
                  </a:lnTo>
                  <a:lnTo>
                    <a:pt x="268" y="313"/>
                  </a:lnTo>
                  <a:lnTo>
                    <a:pt x="239" y="289"/>
                  </a:lnTo>
                  <a:lnTo>
                    <a:pt x="191" y="244"/>
                  </a:lnTo>
                  <a:lnTo>
                    <a:pt x="172" y="228"/>
                  </a:lnTo>
                  <a:lnTo>
                    <a:pt x="174" y="388"/>
                  </a:lnTo>
                  <a:lnTo>
                    <a:pt x="0" y="461"/>
                  </a:lnTo>
                  <a:lnTo>
                    <a:pt x="549" y="602"/>
                  </a:lnTo>
                  <a:lnTo>
                    <a:pt x="517" y="758"/>
                  </a:lnTo>
                  <a:lnTo>
                    <a:pt x="512" y="790"/>
                  </a:lnTo>
                  <a:lnTo>
                    <a:pt x="506" y="833"/>
                  </a:lnTo>
                  <a:lnTo>
                    <a:pt x="501" y="940"/>
                  </a:lnTo>
                  <a:lnTo>
                    <a:pt x="496" y="1055"/>
                  </a:lnTo>
                  <a:lnTo>
                    <a:pt x="498" y="1159"/>
                  </a:lnTo>
                  <a:lnTo>
                    <a:pt x="501" y="1210"/>
                  </a:lnTo>
                  <a:lnTo>
                    <a:pt x="506" y="1261"/>
                  </a:lnTo>
                  <a:lnTo>
                    <a:pt x="525" y="1365"/>
                  </a:lnTo>
                  <a:lnTo>
                    <a:pt x="541" y="1448"/>
                  </a:lnTo>
                  <a:lnTo>
                    <a:pt x="549" y="1480"/>
                  </a:lnTo>
                  <a:lnTo>
                    <a:pt x="121" y="1593"/>
                  </a:lnTo>
                  <a:lnTo>
                    <a:pt x="158" y="1716"/>
                  </a:lnTo>
                  <a:lnTo>
                    <a:pt x="597" y="1604"/>
                  </a:lnTo>
                  <a:lnTo>
                    <a:pt x="613" y="1636"/>
                  </a:lnTo>
                  <a:lnTo>
                    <a:pt x="635" y="1673"/>
                  </a:lnTo>
                  <a:lnTo>
                    <a:pt x="664" y="1721"/>
                  </a:lnTo>
                  <a:lnTo>
                    <a:pt x="699" y="1778"/>
                  </a:lnTo>
                  <a:lnTo>
                    <a:pt x="718" y="1807"/>
                  </a:lnTo>
                  <a:lnTo>
                    <a:pt x="739" y="1836"/>
                  </a:lnTo>
                  <a:lnTo>
                    <a:pt x="761" y="1863"/>
                  </a:lnTo>
                  <a:lnTo>
                    <a:pt x="788" y="1893"/>
                  </a:lnTo>
                  <a:lnTo>
                    <a:pt x="817" y="1919"/>
                  </a:lnTo>
                  <a:lnTo>
                    <a:pt x="852" y="1944"/>
                  </a:lnTo>
                  <a:lnTo>
                    <a:pt x="919" y="1986"/>
                  </a:lnTo>
                  <a:lnTo>
                    <a:pt x="967" y="2019"/>
                  </a:lnTo>
                  <a:lnTo>
                    <a:pt x="1031" y="2051"/>
                  </a:lnTo>
                  <a:lnTo>
                    <a:pt x="1141" y="2102"/>
                  </a:lnTo>
                  <a:lnTo>
                    <a:pt x="1194" y="2112"/>
                  </a:lnTo>
                  <a:lnTo>
                    <a:pt x="1248" y="2123"/>
                  </a:lnTo>
                  <a:lnTo>
                    <a:pt x="1296" y="2128"/>
                  </a:lnTo>
                  <a:lnTo>
                    <a:pt x="1342" y="2131"/>
                  </a:lnTo>
                  <a:lnTo>
                    <a:pt x="1385" y="2128"/>
                  </a:lnTo>
                  <a:lnTo>
                    <a:pt x="1422" y="2126"/>
                  </a:lnTo>
                  <a:lnTo>
                    <a:pt x="1459" y="2120"/>
                  </a:lnTo>
                  <a:lnTo>
                    <a:pt x="1494" y="2112"/>
                  </a:lnTo>
                  <a:lnTo>
                    <a:pt x="1529" y="2102"/>
                  </a:lnTo>
                  <a:lnTo>
                    <a:pt x="1561" y="2091"/>
                  </a:lnTo>
                  <a:lnTo>
                    <a:pt x="1620" y="2067"/>
                  </a:lnTo>
                  <a:lnTo>
                    <a:pt x="1733" y="2011"/>
                  </a:lnTo>
                  <a:lnTo>
                    <a:pt x="1759" y="1997"/>
                  </a:lnTo>
                  <a:lnTo>
                    <a:pt x="1783" y="1981"/>
                  </a:lnTo>
                  <a:lnTo>
                    <a:pt x="1808" y="1965"/>
                  </a:lnTo>
                  <a:lnTo>
                    <a:pt x="1829" y="1946"/>
                  </a:lnTo>
                  <a:lnTo>
                    <a:pt x="1866" y="1909"/>
                  </a:lnTo>
                  <a:lnTo>
                    <a:pt x="1901" y="1869"/>
                  </a:lnTo>
                  <a:lnTo>
                    <a:pt x="1928" y="1828"/>
                  </a:lnTo>
                  <a:lnTo>
                    <a:pt x="1955" y="1791"/>
                  </a:lnTo>
                  <a:lnTo>
                    <a:pt x="1998" y="1716"/>
                  </a:lnTo>
                  <a:lnTo>
                    <a:pt x="2006" y="1700"/>
                  </a:lnTo>
                  <a:lnTo>
                    <a:pt x="2014" y="1681"/>
                  </a:lnTo>
                  <a:lnTo>
                    <a:pt x="2016" y="1657"/>
                  </a:lnTo>
                  <a:lnTo>
                    <a:pt x="2019" y="1636"/>
                  </a:lnTo>
                  <a:lnTo>
                    <a:pt x="2022" y="1588"/>
                  </a:lnTo>
                  <a:lnTo>
                    <a:pt x="2016" y="1539"/>
                  </a:lnTo>
                  <a:lnTo>
                    <a:pt x="2011" y="1497"/>
                  </a:lnTo>
                  <a:lnTo>
                    <a:pt x="2006" y="1462"/>
                  </a:lnTo>
                  <a:lnTo>
                    <a:pt x="1998" y="1427"/>
                  </a:lnTo>
                  <a:lnTo>
                    <a:pt x="2003" y="1456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en-GB" sz="1400">
                <a:solidFill>
                  <a:srgbClr val="9A8B7D"/>
                </a:solidFill>
                <a:cs typeface="Arial" pitchFamily="34" charset="0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AEB051DF-E2FA-46AF-B884-B9FACA9FFFF9}"/>
                </a:ext>
              </a:extLst>
            </p:cNvPr>
            <p:cNvSpPr>
              <a:spLocks/>
            </p:cNvSpPr>
            <p:nvPr/>
          </p:nvSpPr>
          <p:spPr bwMode="auto">
            <a:xfrm rot="16510945">
              <a:off x="9442397" y="1377648"/>
              <a:ext cx="1019175" cy="1460500"/>
            </a:xfrm>
            <a:custGeom>
              <a:avLst/>
              <a:gdLst>
                <a:gd name="T0" fmla="*/ 1310 w 1323"/>
                <a:gd name="T1" fmla="*/ 575 h 1898"/>
                <a:gd name="T2" fmla="*/ 1318 w 1323"/>
                <a:gd name="T3" fmla="*/ 433 h 1898"/>
                <a:gd name="T4" fmla="*/ 1232 w 1323"/>
                <a:gd name="T5" fmla="*/ 190 h 1898"/>
                <a:gd name="T6" fmla="*/ 1130 w 1323"/>
                <a:gd name="T7" fmla="*/ 85 h 1898"/>
                <a:gd name="T8" fmla="*/ 929 w 1323"/>
                <a:gd name="T9" fmla="*/ 13 h 1898"/>
                <a:gd name="T10" fmla="*/ 659 w 1323"/>
                <a:gd name="T11" fmla="*/ 21 h 1898"/>
                <a:gd name="T12" fmla="*/ 365 w 1323"/>
                <a:gd name="T13" fmla="*/ 133 h 1898"/>
                <a:gd name="T14" fmla="*/ 150 w 1323"/>
                <a:gd name="T15" fmla="*/ 350 h 1898"/>
                <a:gd name="T16" fmla="*/ 43 w 1323"/>
                <a:gd name="T17" fmla="*/ 591 h 1898"/>
                <a:gd name="T18" fmla="*/ 0 w 1323"/>
                <a:gd name="T19" fmla="*/ 894 h 1898"/>
                <a:gd name="T20" fmla="*/ 30 w 1323"/>
                <a:gd name="T21" fmla="*/ 1228 h 1898"/>
                <a:gd name="T22" fmla="*/ 148 w 1323"/>
                <a:gd name="T23" fmla="*/ 1531 h 1898"/>
                <a:gd name="T24" fmla="*/ 274 w 1323"/>
                <a:gd name="T25" fmla="*/ 1699 h 1898"/>
                <a:gd name="T26" fmla="*/ 504 w 1323"/>
                <a:gd name="T27" fmla="*/ 1841 h 1898"/>
                <a:gd name="T28" fmla="*/ 806 w 1323"/>
                <a:gd name="T29" fmla="*/ 1898 h 1898"/>
                <a:gd name="T30" fmla="*/ 1034 w 1323"/>
                <a:gd name="T31" fmla="*/ 1852 h 1898"/>
                <a:gd name="T32" fmla="*/ 1184 w 1323"/>
                <a:gd name="T33" fmla="*/ 1737 h 1898"/>
                <a:gd name="T34" fmla="*/ 1253 w 1323"/>
                <a:gd name="T35" fmla="*/ 1576 h 1898"/>
                <a:gd name="T36" fmla="*/ 1245 w 1323"/>
                <a:gd name="T37" fmla="*/ 1397 h 1898"/>
                <a:gd name="T38" fmla="*/ 1200 w 1323"/>
                <a:gd name="T39" fmla="*/ 1333 h 1898"/>
                <a:gd name="T40" fmla="*/ 1077 w 1323"/>
                <a:gd name="T41" fmla="*/ 1295 h 1898"/>
                <a:gd name="T42" fmla="*/ 980 w 1323"/>
                <a:gd name="T43" fmla="*/ 1333 h 1898"/>
                <a:gd name="T44" fmla="*/ 903 w 1323"/>
                <a:gd name="T45" fmla="*/ 1402 h 1898"/>
                <a:gd name="T46" fmla="*/ 830 w 1323"/>
                <a:gd name="T47" fmla="*/ 1394 h 1898"/>
                <a:gd name="T48" fmla="*/ 820 w 1323"/>
                <a:gd name="T49" fmla="*/ 1341 h 1898"/>
                <a:gd name="T50" fmla="*/ 857 w 1323"/>
                <a:gd name="T51" fmla="*/ 1239 h 1898"/>
                <a:gd name="T52" fmla="*/ 860 w 1323"/>
                <a:gd name="T53" fmla="*/ 1196 h 1898"/>
                <a:gd name="T54" fmla="*/ 745 w 1323"/>
                <a:gd name="T55" fmla="*/ 1247 h 1898"/>
                <a:gd name="T56" fmla="*/ 638 w 1323"/>
                <a:gd name="T57" fmla="*/ 1234 h 1898"/>
                <a:gd name="T58" fmla="*/ 648 w 1323"/>
                <a:gd name="T59" fmla="*/ 1188 h 1898"/>
                <a:gd name="T60" fmla="*/ 713 w 1323"/>
                <a:gd name="T61" fmla="*/ 1119 h 1898"/>
                <a:gd name="T62" fmla="*/ 828 w 1323"/>
                <a:gd name="T63" fmla="*/ 1097 h 1898"/>
                <a:gd name="T64" fmla="*/ 846 w 1323"/>
                <a:gd name="T65" fmla="*/ 1049 h 1898"/>
                <a:gd name="T66" fmla="*/ 769 w 1323"/>
                <a:gd name="T67" fmla="*/ 1011 h 1898"/>
                <a:gd name="T68" fmla="*/ 627 w 1323"/>
                <a:gd name="T69" fmla="*/ 971 h 1898"/>
                <a:gd name="T70" fmla="*/ 603 w 1323"/>
                <a:gd name="T71" fmla="*/ 907 h 1898"/>
                <a:gd name="T72" fmla="*/ 643 w 1323"/>
                <a:gd name="T73" fmla="*/ 859 h 1898"/>
                <a:gd name="T74" fmla="*/ 753 w 1323"/>
                <a:gd name="T75" fmla="*/ 904 h 1898"/>
                <a:gd name="T76" fmla="*/ 844 w 1323"/>
                <a:gd name="T77" fmla="*/ 878 h 1898"/>
                <a:gd name="T78" fmla="*/ 844 w 1323"/>
                <a:gd name="T79" fmla="*/ 845 h 1898"/>
                <a:gd name="T80" fmla="*/ 729 w 1323"/>
                <a:gd name="T81" fmla="*/ 800 h 1898"/>
                <a:gd name="T82" fmla="*/ 680 w 1323"/>
                <a:gd name="T83" fmla="*/ 754 h 1898"/>
                <a:gd name="T84" fmla="*/ 680 w 1323"/>
                <a:gd name="T85" fmla="*/ 685 h 1898"/>
                <a:gd name="T86" fmla="*/ 769 w 1323"/>
                <a:gd name="T87" fmla="*/ 653 h 1898"/>
                <a:gd name="T88" fmla="*/ 817 w 1323"/>
                <a:gd name="T89" fmla="*/ 696 h 1898"/>
                <a:gd name="T90" fmla="*/ 868 w 1323"/>
                <a:gd name="T91" fmla="*/ 754 h 1898"/>
                <a:gd name="T92" fmla="*/ 924 w 1323"/>
                <a:gd name="T93" fmla="*/ 746 h 1898"/>
                <a:gd name="T94" fmla="*/ 900 w 1323"/>
                <a:gd name="T95" fmla="*/ 621 h 1898"/>
                <a:gd name="T96" fmla="*/ 929 w 1323"/>
                <a:gd name="T97" fmla="*/ 551 h 1898"/>
                <a:gd name="T98" fmla="*/ 999 w 1323"/>
                <a:gd name="T99" fmla="*/ 527 h 1898"/>
                <a:gd name="T100" fmla="*/ 1020 w 1323"/>
                <a:gd name="T101" fmla="*/ 610 h 1898"/>
                <a:gd name="T102" fmla="*/ 1034 w 1323"/>
                <a:gd name="T103" fmla="*/ 712 h 1898"/>
                <a:gd name="T104" fmla="*/ 1077 w 1323"/>
                <a:gd name="T105" fmla="*/ 741 h 1898"/>
                <a:gd name="T106" fmla="*/ 1120 w 1323"/>
                <a:gd name="T107" fmla="*/ 634 h 1898"/>
                <a:gd name="T108" fmla="*/ 1184 w 1323"/>
                <a:gd name="T109" fmla="*/ 615 h 1898"/>
                <a:gd name="T110" fmla="*/ 1224 w 1323"/>
                <a:gd name="T111" fmla="*/ 637 h 1898"/>
                <a:gd name="T112" fmla="*/ 1181 w 1323"/>
                <a:gd name="T113" fmla="*/ 696 h 1898"/>
                <a:gd name="T114" fmla="*/ 1213 w 1323"/>
                <a:gd name="T115" fmla="*/ 738 h 1898"/>
                <a:gd name="T116" fmla="*/ 1243 w 1323"/>
                <a:gd name="T117" fmla="*/ 730 h 1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23" h="1898">
                  <a:moveTo>
                    <a:pt x="1243" y="730"/>
                  </a:moveTo>
                  <a:lnTo>
                    <a:pt x="1259" y="701"/>
                  </a:lnTo>
                  <a:lnTo>
                    <a:pt x="1277" y="669"/>
                  </a:lnTo>
                  <a:lnTo>
                    <a:pt x="1296" y="626"/>
                  </a:lnTo>
                  <a:lnTo>
                    <a:pt x="1310" y="575"/>
                  </a:lnTo>
                  <a:lnTo>
                    <a:pt x="1318" y="548"/>
                  </a:lnTo>
                  <a:lnTo>
                    <a:pt x="1320" y="522"/>
                  </a:lnTo>
                  <a:lnTo>
                    <a:pt x="1323" y="492"/>
                  </a:lnTo>
                  <a:lnTo>
                    <a:pt x="1323" y="463"/>
                  </a:lnTo>
                  <a:lnTo>
                    <a:pt x="1318" y="433"/>
                  </a:lnTo>
                  <a:lnTo>
                    <a:pt x="1310" y="406"/>
                  </a:lnTo>
                  <a:lnTo>
                    <a:pt x="1275" y="294"/>
                  </a:lnTo>
                  <a:lnTo>
                    <a:pt x="1256" y="240"/>
                  </a:lnTo>
                  <a:lnTo>
                    <a:pt x="1243" y="214"/>
                  </a:lnTo>
                  <a:lnTo>
                    <a:pt x="1232" y="190"/>
                  </a:lnTo>
                  <a:lnTo>
                    <a:pt x="1216" y="168"/>
                  </a:lnTo>
                  <a:lnTo>
                    <a:pt x="1200" y="144"/>
                  </a:lnTo>
                  <a:lnTo>
                    <a:pt x="1178" y="123"/>
                  </a:lnTo>
                  <a:lnTo>
                    <a:pt x="1157" y="104"/>
                  </a:lnTo>
                  <a:lnTo>
                    <a:pt x="1130" y="85"/>
                  </a:lnTo>
                  <a:lnTo>
                    <a:pt x="1101" y="69"/>
                  </a:lnTo>
                  <a:lnTo>
                    <a:pt x="1069" y="56"/>
                  </a:lnTo>
                  <a:lnTo>
                    <a:pt x="1031" y="42"/>
                  </a:lnTo>
                  <a:lnTo>
                    <a:pt x="978" y="26"/>
                  </a:lnTo>
                  <a:lnTo>
                    <a:pt x="929" y="13"/>
                  </a:lnTo>
                  <a:lnTo>
                    <a:pt x="881" y="5"/>
                  </a:lnTo>
                  <a:lnTo>
                    <a:pt x="830" y="0"/>
                  </a:lnTo>
                  <a:lnTo>
                    <a:pt x="780" y="0"/>
                  </a:lnTo>
                  <a:lnTo>
                    <a:pt x="723" y="8"/>
                  </a:lnTo>
                  <a:lnTo>
                    <a:pt x="659" y="21"/>
                  </a:lnTo>
                  <a:lnTo>
                    <a:pt x="587" y="42"/>
                  </a:lnTo>
                  <a:lnTo>
                    <a:pt x="520" y="64"/>
                  </a:lnTo>
                  <a:lnTo>
                    <a:pt x="461" y="85"/>
                  </a:lnTo>
                  <a:lnTo>
                    <a:pt x="410" y="107"/>
                  </a:lnTo>
                  <a:lnTo>
                    <a:pt x="365" y="133"/>
                  </a:lnTo>
                  <a:lnTo>
                    <a:pt x="322" y="163"/>
                  </a:lnTo>
                  <a:lnTo>
                    <a:pt x="276" y="203"/>
                  </a:lnTo>
                  <a:lnTo>
                    <a:pt x="228" y="254"/>
                  </a:lnTo>
                  <a:lnTo>
                    <a:pt x="174" y="318"/>
                  </a:lnTo>
                  <a:lnTo>
                    <a:pt x="150" y="350"/>
                  </a:lnTo>
                  <a:lnTo>
                    <a:pt x="126" y="390"/>
                  </a:lnTo>
                  <a:lnTo>
                    <a:pt x="105" y="433"/>
                  </a:lnTo>
                  <a:lnTo>
                    <a:pt x="83" y="484"/>
                  </a:lnTo>
                  <a:lnTo>
                    <a:pt x="62" y="538"/>
                  </a:lnTo>
                  <a:lnTo>
                    <a:pt x="43" y="591"/>
                  </a:lnTo>
                  <a:lnTo>
                    <a:pt x="30" y="645"/>
                  </a:lnTo>
                  <a:lnTo>
                    <a:pt x="19" y="696"/>
                  </a:lnTo>
                  <a:lnTo>
                    <a:pt x="11" y="749"/>
                  </a:lnTo>
                  <a:lnTo>
                    <a:pt x="3" y="819"/>
                  </a:lnTo>
                  <a:lnTo>
                    <a:pt x="0" y="894"/>
                  </a:lnTo>
                  <a:lnTo>
                    <a:pt x="0" y="974"/>
                  </a:lnTo>
                  <a:lnTo>
                    <a:pt x="3" y="1054"/>
                  </a:lnTo>
                  <a:lnTo>
                    <a:pt x="11" y="1129"/>
                  </a:lnTo>
                  <a:lnTo>
                    <a:pt x="22" y="1199"/>
                  </a:lnTo>
                  <a:lnTo>
                    <a:pt x="30" y="1228"/>
                  </a:lnTo>
                  <a:lnTo>
                    <a:pt x="38" y="1258"/>
                  </a:lnTo>
                  <a:lnTo>
                    <a:pt x="75" y="1365"/>
                  </a:lnTo>
                  <a:lnTo>
                    <a:pt x="97" y="1421"/>
                  </a:lnTo>
                  <a:lnTo>
                    <a:pt x="121" y="1477"/>
                  </a:lnTo>
                  <a:lnTo>
                    <a:pt x="148" y="1531"/>
                  </a:lnTo>
                  <a:lnTo>
                    <a:pt x="174" y="1579"/>
                  </a:lnTo>
                  <a:lnTo>
                    <a:pt x="207" y="1624"/>
                  </a:lnTo>
                  <a:lnTo>
                    <a:pt x="223" y="1646"/>
                  </a:lnTo>
                  <a:lnTo>
                    <a:pt x="239" y="1665"/>
                  </a:lnTo>
                  <a:lnTo>
                    <a:pt x="274" y="1699"/>
                  </a:lnTo>
                  <a:lnTo>
                    <a:pt x="316" y="1732"/>
                  </a:lnTo>
                  <a:lnTo>
                    <a:pt x="359" y="1764"/>
                  </a:lnTo>
                  <a:lnTo>
                    <a:pt x="405" y="1793"/>
                  </a:lnTo>
                  <a:lnTo>
                    <a:pt x="453" y="1820"/>
                  </a:lnTo>
                  <a:lnTo>
                    <a:pt x="504" y="1841"/>
                  </a:lnTo>
                  <a:lnTo>
                    <a:pt x="552" y="1860"/>
                  </a:lnTo>
                  <a:lnTo>
                    <a:pt x="603" y="1876"/>
                  </a:lnTo>
                  <a:lnTo>
                    <a:pt x="672" y="1890"/>
                  </a:lnTo>
                  <a:lnTo>
                    <a:pt x="742" y="1898"/>
                  </a:lnTo>
                  <a:lnTo>
                    <a:pt x="806" y="1898"/>
                  </a:lnTo>
                  <a:lnTo>
                    <a:pt x="868" y="1895"/>
                  </a:lnTo>
                  <a:lnTo>
                    <a:pt x="927" y="1887"/>
                  </a:lnTo>
                  <a:lnTo>
                    <a:pt x="983" y="1871"/>
                  </a:lnTo>
                  <a:lnTo>
                    <a:pt x="1010" y="1863"/>
                  </a:lnTo>
                  <a:lnTo>
                    <a:pt x="1034" y="1852"/>
                  </a:lnTo>
                  <a:lnTo>
                    <a:pt x="1058" y="1839"/>
                  </a:lnTo>
                  <a:lnTo>
                    <a:pt x="1082" y="1825"/>
                  </a:lnTo>
                  <a:lnTo>
                    <a:pt x="1120" y="1796"/>
                  </a:lnTo>
                  <a:lnTo>
                    <a:pt x="1154" y="1769"/>
                  </a:lnTo>
                  <a:lnTo>
                    <a:pt x="1184" y="1737"/>
                  </a:lnTo>
                  <a:lnTo>
                    <a:pt x="1205" y="1707"/>
                  </a:lnTo>
                  <a:lnTo>
                    <a:pt x="1224" y="1675"/>
                  </a:lnTo>
                  <a:lnTo>
                    <a:pt x="1237" y="1643"/>
                  </a:lnTo>
                  <a:lnTo>
                    <a:pt x="1248" y="1611"/>
                  </a:lnTo>
                  <a:lnTo>
                    <a:pt x="1253" y="1576"/>
                  </a:lnTo>
                  <a:lnTo>
                    <a:pt x="1259" y="1541"/>
                  </a:lnTo>
                  <a:lnTo>
                    <a:pt x="1261" y="1504"/>
                  </a:lnTo>
                  <a:lnTo>
                    <a:pt x="1261" y="1467"/>
                  </a:lnTo>
                  <a:lnTo>
                    <a:pt x="1256" y="1429"/>
                  </a:lnTo>
                  <a:lnTo>
                    <a:pt x="1245" y="1397"/>
                  </a:lnTo>
                  <a:lnTo>
                    <a:pt x="1240" y="1381"/>
                  </a:lnTo>
                  <a:lnTo>
                    <a:pt x="1232" y="1365"/>
                  </a:lnTo>
                  <a:lnTo>
                    <a:pt x="1224" y="1354"/>
                  </a:lnTo>
                  <a:lnTo>
                    <a:pt x="1213" y="1341"/>
                  </a:lnTo>
                  <a:lnTo>
                    <a:pt x="1200" y="1333"/>
                  </a:lnTo>
                  <a:lnTo>
                    <a:pt x="1186" y="1325"/>
                  </a:lnTo>
                  <a:lnTo>
                    <a:pt x="1157" y="1314"/>
                  </a:lnTo>
                  <a:lnTo>
                    <a:pt x="1130" y="1303"/>
                  </a:lnTo>
                  <a:lnTo>
                    <a:pt x="1103" y="1298"/>
                  </a:lnTo>
                  <a:lnTo>
                    <a:pt x="1077" y="1295"/>
                  </a:lnTo>
                  <a:lnTo>
                    <a:pt x="1055" y="1293"/>
                  </a:lnTo>
                  <a:lnTo>
                    <a:pt x="1034" y="1295"/>
                  </a:lnTo>
                  <a:lnTo>
                    <a:pt x="1018" y="1301"/>
                  </a:lnTo>
                  <a:lnTo>
                    <a:pt x="1002" y="1309"/>
                  </a:lnTo>
                  <a:lnTo>
                    <a:pt x="980" y="1333"/>
                  </a:lnTo>
                  <a:lnTo>
                    <a:pt x="962" y="1359"/>
                  </a:lnTo>
                  <a:lnTo>
                    <a:pt x="943" y="1381"/>
                  </a:lnTo>
                  <a:lnTo>
                    <a:pt x="932" y="1392"/>
                  </a:lnTo>
                  <a:lnTo>
                    <a:pt x="919" y="1397"/>
                  </a:lnTo>
                  <a:lnTo>
                    <a:pt x="903" y="1402"/>
                  </a:lnTo>
                  <a:lnTo>
                    <a:pt x="884" y="1405"/>
                  </a:lnTo>
                  <a:lnTo>
                    <a:pt x="865" y="1405"/>
                  </a:lnTo>
                  <a:lnTo>
                    <a:pt x="846" y="1402"/>
                  </a:lnTo>
                  <a:lnTo>
                    <a:pt x="838" y="1400"/>
                  </a:lnTo>
                  <a:lnTo>
                    <a:pt x="830" y="1394"/>
                  </a:lnTo>
                  <a:lnTo>
                    <a:pt x="825" y="1389"/>
                  </a:lnTo>
                  <a:lnTo>
                    <a:pt x="820" y="1381"/>
                  </a:lnTo>
                  <a:lnTo>
                    <a:pt x="817" y="1370"/>
                  </a:lnTo>
                  <a:lnTo>
                    <a:pt x="817" y="1357"/>
                  </a:lnTo>
                  <a:lnTo>
                    <a:pt x="820" y="1341"/>
                  </a:lnTo>
                  <a:lnTo>
                    <a:pt x="825" y="1322"/>
                  </a:lnTo>
                  <a:lnTo>
                    <a:pt x="846" y="1268"/>
                  </a:lnTo>
                  <a:lnTo>
                    <a:pt x="852" y="1250"/>
                  </a:lnTo>
                  <a:lnTo>
                    <a:pt x="854" y="1247"/>
                  </a:lnTo>
                  <a:lnTo>
                    <a:pt x="857" y="1239"/>
                  </a:lnTo>
                  <a:lnTo>
                    <a:pt x="865" y="1220"/>
                  </a:lnTo>
                  <a:lnTo>
                    <a:pt x="868" y="1212"/>
                  </a:lnTo>
                  <a:lnTo>
                    <a:pt x="868" y="1204"/>
                  </a:lnTo>
                  <a:lnTo>
                    <a:pt x="865" y="1199"/>
                  </a:lnTo>
                  <a:lnTo>
                    <a:pt x="860" y="1196"/>
                  </a:lnTo>
                  <a:lnTo>
                    <a:pt x="846" y="1199"/>
                  </a:lnTo>
                  <a:lnTo>
                    <a:pt x="825" y="1210"/>
                  </a:lnTo>
                  <a:lnTo>
                    <a:pt x="788" y="1228"/>
                  </a:lnTo>
                  <a:lnTo>
                    <a:pt x="763" y="1239"/>
                  </a:lnTo>
                  <a:lnTo>
                    <a:pt x="745" y="1247"/>
                  </a:lnTo>
                  <a:lnTo>
                    <a:pt x="718" y="1247"/>
                  </a:lnTo>
                  <a:lnTo>
                    <a:pt x="683" y="1247"/>
                  </a:lnTo>
                  <a:lnTo>
                    <a:pt x="664" y="1244"/>
                  </a:lnTo>
                  <a:lnTo>
                    <a:pt x="648" y="1239"/>
                  </a:lnTo>
                  <a:lnTo>
                    <a:pt x="638" y="1234"/>
                  </a:lnTo>
                  <a:lnTo>
                    <a:pt x="635" y="1228"/>
                  </a:lnTo>
                  <a:lnTo>
                    <a:pt x="635" y="1223"/>
                  </a:lnTo>
                  <a:lnTo>
                    <a:pt x="635" y="1215"/>
                  </a:lnTo>
                  <a:lnTo>
                    <a:pt x="638" y="1207"/>
                  </a:lnTo>
                  <a:lnTo>
                    <a:pt x="648" y="1188"/>
                  </a:lnTo>
                  <a:lnTo>
                    <a:pt x="675" y="1153"/>
                  </a:lnTo>
                  <a:lnTo>
                    <a:pt x="689" y="1132"/>
                  </a:lnTo>
                  <a:lnTo>
                    <a:pt x="694" y="1124"/>
                  </a:lnTo>
                  <a:lnTo>
                    <a:pt x="702" y="1121"/>
                  </a:lnTo>
                  <a:lnTo>
                    <a:pt x="713" y="1119"/>
                  </a:lnTo>
                  <a:lnTo>
                    <a:pt x="729" y="1116"/>
                  </a:lnTo>
                  <a:lnTo>
                    <a:pt x="763" y="1110"/>
                  </a:lnTo>
                  <a:lnTo>
                    <a:pt x="796" y="1108"/>
                  </a:lnTo>
                  <a:lnTo>
                    <a:pt x="820" y="1100"/>
                  </a:lnTo>
                  <a:lnTo>
                    <a:pt x="828" y="1097"/>
                  </a:lnTo>
                  <a:lnTo>
                    <a:pt x="833" y="1092"/>
                  </a:lnTo>
                  <a:lnTo>
                    <a:pt x="841" y="1078"/>
                  </a:lnTo>
                  <a:lnTo>
                    <a:pt x="844" y="1068"/>
                  </a:lnTo>
                  <a:lnTo>
                    <a:pt x="846" y="1060"/>
                  </a:lnTo>
                  <a:lnTo>
                    <a:pt x="846" y="1049"/>
                  </a:lnTo>
                  <a:lnTo>
                    <a:pt x="844" y="1041"/>
                  </a:lnTo>
                  <a:lnTo>
                    <a:pt x="836" y="1030"/>
                  </a:lnTo>
                  <a:lnTo>
                    <a:pt x="825" y="1025"/>
                  </a:lnTo>
                  <a:lnTo>
                    <a:pt x="798" y="1017"/>
                  </a:lnTo>
                  <a:lnTo>
                    <a:pt x="769" y="1011"/>
                  </a:lnTo>
                  <a:lnTo>
                    <a:pt x="705" y="1003"/>
                  </a:lnTo>
                  <a:lnTo>
                    <a:pt x="672" y="995"/>
                  </a:lnTo>
                  <a:lnTo>
                    <a:pt x="656" y="990"/>
                  </a:lnTo>
                  <a:lnTo>
                    <a:pt x="640" y="982"/>
                  </a:lnTo>
                  <a:lnTo>
                    <a:pt x="627" y="971"/>
                  </a:lnTo>
                  <a:lnTo>
                    <a:pt x="616" y="963"/>
                  </a:lnTo>
                  <a:lnTo>
                    <a:pt x="608" y="950"/>
                  </a:lnTo>
                  <a:lnTo>
                    <a:pt x="603" y="936"/>
                  </a:lnTo>
                  <a:lnTo>
                    <a:pt x="603" y="923"/>
                  </a:lnTo>
                  <a:lnTo>
                    <a:pt x="603" y="907"/>
                  </a:lnTo>
                  <a:lnTo>
                    <a:pt x="606" y="891"/>
                  </a:lnTo>
                  <a:lnTo>
                    <a:pt x="611" y="878"/>
                  </a:lnTo>
                  <a:lnTo>
                    <a:pt x="619" y="867"/>
                  </a:lnTo>
                  <a:lnTo>
                    <a:pt x="630" y="862"/>
                  </a:lnTo>
                  <a:lnTo>
                    <a:pt x="643" y="859"/>
                  </a:lnTo>
                  <a:lnTo>
                    <a:pt x="662" y="864"/>
                  </a:lnTo>
                  <a:lnTo>
                    <a:pt x="691" y="878"/>
                  </a:lnTo>
                  <a:lnTo>
                    <a:pt x="707" y="888"/>
                  </a:lnTo>
                  <a:lnTo>
                    <a:pt x="723" y="896"/>
                  </a:lnTo>
                  <a:lnTo>
                    <a:pt x="753" y="904"/>
                  </a:lnTo>
                  <a:lnTo>
                    <a:pt x="774" y="904"/>
                  </a:lnTo>
                  <a:lnTo>
                    <a:pt x="798" y="902"/>
                  </a:lnTo>
                  <a:lnTo>
                    <a:pt x="820" y="894"/>
                  </a:lnTo>
                  <a:lnTo>
                    <a:pt x="838" y="883"/>
                  </a:lnTo>
                  <a:lnTo>
                    <a:pt x="844" y="878"/>
                  </a:lnTo>
                  <a:lnTo>
                    <a:pt x="849" y="872"/>
                  </a:lnTo>
                  <a:lnTo>
                    <a:pt x="852" y="864"/>
                  </a:lnTo>
                  <a:lnTo>
                    <a:pt x="852" y="859"/>
                  </a:lnTo>
                  <a:lnTo>
                    <a:pt x="849" y="851"/>
                  </a:lnTo>
                  <a:lnTo>
                    <a:pt x="844" y="845"/>
                  </a:lnTo>
                  <a:lnTo>
                    <a:pt x="833" y="837"/>
                  </a:lnTo>
                  <a:lnTo>
                    <a:pt x="817" y="829"/>
                  </a:lnTo>
                  <a:lnTo>
                    <a:pt x="788" y="819"/>
                  </a:lnTo>
                  <a:lnTo>
                    <a:pt x="763" y="808"/>
                  </a:lnTo>
                  <a:lnTo>
                    <a:pt x="729" y="800"/>
                  </a:lnTo>
                  <a:lnTo>
                    <a:pt x="715" y="795"/>
                  </a:lnTo>
                  <a:lnTo>
                    <a:pt x="705" y="789"/>
                  </a:lnTo>
                  <a:lnTo>
                    <a:pt x="697" y="781"/>
                  </a:lnTo>
                  <a:lnTo>
                    <a:pt x="689" y="771"/>
                  </a:lnTo>
                  <a:lnTo>
                    <a:pt x="680" y="754"/>
                  </a:lnTo>
                  <a:lnTo>
                    <a:pt x="675" y="741"/>
                  </a:lnTo>
                  <a:lnTo>
                    <a:pt x="672" y="725"/>
                  </a:lnTo>
                  <a:lnTo>
                    <a:pt x="670" y="709"/>
                  </a:lnTo>
                  <a:lnTo>
                    <a:pt x="675" y="696"/>
                  </a:lnTo>
                  <a:lnTo>
                    <a:pt x="680" y="685"/>
                  </a:lnTo>
                  <a:lnTo>
                    <a:pt x="691" y="674"/>
                  </a:lnTo>
                  <a:lnTo>
                    <a:pt x="707" y="666"/>
                  </a:lnTo>
                  <a:lnTo>
                    <a:pt x="742" y="655"/>
                  </a:lnTo>
                  <a:lnTo>
                    <a:pt x="755" y="653"/>
                  </a:lnTo>
                  <a:lnTo>
                    <a:pt x="769" y="653"/>
                  </a:lnTo>
                  <a:lnTo>
                    <a:pt x="780" y="653"/>
                  </a:lnTo>
                  <a:lnTo>
                    <a:pt x="790" y="655"/>
                  </a:lnTo>
                  <a:lnTo>
                    <a:pt x="798" y="663"/>
                  </a:lnTo>
                  <a:lnTo>
                    <a:pt x="806" y="671"/>
                  </a:lnTo>
                  <a:lnTo>
                    <a:pt x="817" y="696"/>
                  </a:lnTo>
                  <a:lnTo>
                    <a:pt x="825" y="717"/>
                  </a:lnTo>
                  <a:lnTo>
                    <a:pt x="836" y="736"/>
                  </a:lnTo>
                  <a:lnTo>
                    <a:pt x="838" y="741"/>
                  </a:lnTo>
                  <a:lnTo>
                    <a:pt x="844" y="746"/>
                  </a:lnTo>
                  <a:lnTo>
                    <a:pt x="868" y="754"/>
                  </a:lnTo>
                  <a:lnTo>
                    <a:pt x="884" y="757"/>
                  </a:lnTo>
                  <a:lnTo>
                    <a:pt x="900" y="760"/>
                  </a:lnTo>
                  <a:lnTo>
                    <a:pt x="913" y="754"/>
                  </a:lnTo>
                  <a:lnTo>
                    <a:pt x="919" y="752"/>
                  </a:lnTo>
                  <a:lnTo>
                    <a:pt x="924" y="746"/>
                  </a:lnTo>
                  <a:lnTo>
                    <a:pt x="927" y="738"/>
                  </a:lnTo>
                  <a:lnTo>
                    <a:pt x="927" y="728"/>
                  </a:lnTo>
                  <a:lnTo>
                    <a:pt x="927" y="714"/>
                  </a:lnTo>
                  <a:lnTo>
                    <a:pt x="924" y="701"/>
                  </a:lnTo>
                  <a:lnTo>
                    <a:pt x="900" y="621"/>
                  </a:lnTo>
                  <a:lnTo>
                    <a:pt x="897" y="605"/>
                  </a:lnTo>
                  <a:lnTo>
                    <a:pt x="895" y="591"/>
                  </a:lnTo>
                  <a:lnTo>
                    <a:pt x="900" y="580"/>
                  </a:lnTo>
                  <a:lnTo>
                    <a:pt x="913" y="567"/>
                  </a:lnTo>
                  <a:lnTo>
                    <a:pt x="929" y="551"/>
                  </a:lnTo>
                  <a:lnTo>
                    <a:pt x="951" y="535"/>
                  </a:lnTo>
                  <a:lnTo>
                    <a:pt x="970" y="527"/>
                  </a:lnTo>
                  <a:lnTo>
                    <a:pt x="980" y="524"/>
                  </a:lnTo>
                  <a:lnTo>
                    <a:pt x="991" y="524"/>
                  </a:lnTo>
                  <a:lnTo>
                    <a:pt x="999" y="527"/>
                  </a:lnTo>
                  <a:lnTo>
                    <a:pt x="1004" y="535"/>
                  </a:lnTo>
                  <a:lnTo>
                    <a:pt x="1010" y="543"/>
                  </a:lnTo>
                  <a:lnTo>
                    <a:pt x="1015" y="556"/>
                  </a:lnTo>
                  <a:lnTo>
                    <a:pt x="1018" y="586"/>
                  </a:lnTo>
                  <a:lnTo>
                    <a:pt x="1020" y="610"/>
                  </a:lnTo>
                  <a:lnTo>
                    <a:pt x="1020" y="647"/>
                  </a:lnTo>
                  <a:lnTo>
                    <a:pt x="1020" y="677"/>
                  </a:lnTo>
                  <a:lnTo>
                    <a:pt x="1023" y="688"/>
                  </a:lnTo>
                  <a:lnTo>
                    <a:pt x="1026" y="701"/>
                  </a:lnTo>
                  <a:lnTo>
                    <a:pt x="1034" y="712"/>
                  </a:lnTo>
                  <a:lnTo>
                    <a:pt x="1039" y="725"/>
                  </a:lnTo>
                  <a:lnTo>
                    <a:pt x="1050" y="733"/>
                  </a:lnTo>
                  <a:lnTo>
                    <a:pt x="1058" y="738"/>
                  </a:lnTo>
                  <a:lnTo>
                    <a:pt x="1066" y="741"/>
                  </a:lnTo>
                  <a:lnTo>
                    <a:pt x="1077" y="741"/>
                  </a:lnTo>
                  <a:lnTo>
                    <a:pt x="1082" y="736"/>
                  </a:lnTo>
                  <a:lnTo>
                    <a:pt x="1087" y="725"/>
                  </a:lnTo>
                  <a:lnTo>
                    <a:pt x="1109" y="661"/>
                  </a:lnTo>
                  <a:lnTo>
                    <a:pt x="1114" y="647"/>
                  </a:lnTo>
                  <a:lnTo>
                    <a:pt x="1120" y="634"/>
                  </a:lnTo>
                  <a:lnTo>
                    <a:pt x="1128" y="623"/>
                  </a:lnTo>
                  <a:lnTo>
                    <a:pt x="1138" y="618"/>
                  </a:lnTo>
                  <a:lnTo>
                    <a:pt x="1152" y="615"/>
                  </a:lnTo>
                  <a:lnTo>
                    <a:pt x="1165" y="615"/>
                  </a:lnTo>
                  <a:lnTo>
                    <a:pt x="1184" y="615"/>
                  </a:lnTo>
                  <a:lnTo>
                    <a:pt x="1197" y="618"/>
                  </a:lnTo>
                  <a:lnTo>
                    <a:pt x="1211" y="621"/>
                  </a:lnTo>
                  <a:lnTo>
                    <a:pt x="1221" y="629"/>
                  </a:lnTo>
                  <a:lnTo>
                    <a:pt x="1224" y="631"/>
                  </a:lnTo>
                  <a:lnTo>
                    <a:pt x="1224" y="637"/>
                  </a:lnTo>
                  <a:lnTo>
                    <a:pt x="1221" y="639"/>
                  </a:lnTo>
                  <a:lnTo>
                    <a:pt x="1219" y="647"/>
                  </a:lnTo>
                  <a:lnTo>
                    <a:pt x="1200" y="669"/>
                  </a:lnTo>
                  <a:lnTo>
                    <a:pt x="1184" y="688"/>
                  </a:lnTo>
                  <a:lnTo>
                    <a:pt x="1181" y="696"/>
                  </a:lnTo>
                  <a:lnTo>
                    <a:pt x="1178" y="704"/>
                  </a:lnTo>
                  <a:lnTo>
                    <a:pt x="1178" y="709"/>
                  </a:lnTo>
                  <a:lnTo>
                    <a:pt x="1184" y="717"/>
                  </a:lnTo>
                  <a:lnTo>
                    <a:pt x="1197" y="730"/>
                  </a:lnTo>
                  <a:lnTo>
                    <a:pt x="1213" y="738"/>
                  </a:lnTo>
                  <a:lnTo>
                    <a:pt x="1221" y="741"/>
                  </a:lnTo>
                  <a:lnTo>
                    <a:pt x="1229" y="741"/>
                  </a:lnTo>
                  <a:lnTo>
                    <a:pt x="1237" y="738"/>
                  </a:lnTo>
                  <a:lnTo>
                    <a:pt x="1240" y="730"/>
                  </a:lnTo>
                  <a:lnTo>
                    <a:pt x="1243" y="73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en-GB" sz="1400">
                <a:solidFill>
                  <a:srgbClr val="9A8B7D"/>
                </a:solidFill>
                <a:cs typeface="Arial" pitchFamily="34" charset="0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5D473A1E-0911-484D-8605-EDB247712353}"/>
                </a:ext>
              </a:extLst>
            </p:cNvPr>
            <p:cNvSpPr>
              <a:spLocks/>
            </p:cNvSpPr>
            <p:nvPr/>
          </p:nvSpPr>
          <p:spPr bwMode="auto">
            <a:xfrm rot="16510945">
              <a:off x="9446385" y="1373083"/>
              <a:ext cx="1017784" cy="1461263"/>
            </a:xfrm>
            <a:custGeom>
              <a:avLst/>
              <a:gdLst>
                <a:gd name="T0" fmla="*/ 2147483647 w 1322"/>
                <a:gd name="T1" fmla="*/ 2147483647 h 1898"/>
                <a:gd name="T2" fmla="*/ 2147483647 w 1322"/>
                <a:gd name="T3" fmla="*/ 2147483647 h 1898"/>
                <a:gd name="T4" fmla="*/ 2147483647 w 1322"/>
                <a:gd name="T5" fmla="*/ 2147483647 h 1898"/>
                <a:gd name="T6" fmla="*/ 2147483647 w 1322"/>
                <a:gd name="T7" fmla="*/ 2147483647 h 1898"/>
                <a:gd name="T8" fmla="*/ 2147483647 w 1322"/>
                <a:gd name="T9" fmla="*/ 2147483647 h 1898"/>
                <a:gd name="T10" fmla="*/ 2147483647 w 1322"/>
                <a:gd name="T11" fmla="*/ 2147483647 h 1898"/>
                <a:gd name="T12" fmla="*/ 2147483647 w 1322"/>
                <a:gd name="T13" fmla="*/ 2147483647 h 1898"/>
                <a:gd name="T14" fmla="*/ 2147483647 w 1322"/>
                <a:gd name="T15" fmla="*/ 2147483647 h 1898"/>
                <a:gd name="T16" fmla="*/ 2147483647 w 1322"/>
                <a:gd name="T17" fmla="*/ 2147483647 h 1898"/>
                <a:gd name="T18" fmla="*/ 0 w 1322"/>
                <a:gd name="T19" fmla="*/ 2147483647 h 1898"/>
                <a:gd name="T20" fmla="*/ 2147483647 w 1322"/>
                <a:gd name="T21" fmla="*/ 2147483647 h 1898"/>
                <a:gd name="T22" fmla="*/ 2147483647 w 1322"/>
                <a:gd name="T23" fmla="*/ 2147483647 h 1898"/>
                <a:gd name="T24" fmla="*/ 2147483647 w 1322"/>
                <a:gd name="T25" fmla="*/ 2147483647 h 1898"/>
                <a:gd name="T26" fmla="*/ 2147483647 w 1322"/>
                <a:gd name="T27" fmla="*/ 2147483647 h 1898"/>
                <a:gd name="T28" fmla="*/ 2147483647 w 1322"/>
                <a:gd name="T29" fmla="*/ 2147483647 h 1898"/>
                <a:gd name="T30" fmla="*/ 2147483647 w 1322"/>
                <a:gd name="T31" fmla="*/ 2147483647 h 1898"/>
                <a:gd name="T32" fmla="*/ 2147483647 w 1322"/>
                <a:gd name="T33" fmla="*/ 2147483647 h 1898"/>
                <a:gd name="T34" fmla="*/ 2147483647 w 1322"/>
                <a:gd name="T35" fmla="*/ 2147483647 h 1898"/>
                <a:gd name="T36" fmla="*/ 2147483647 w 1322"/>
                <a:gd name="T37" fmla="*/ 2147483647 h 1898"/>
                <a:gd name="T38" fmla="*/ 2147483647 w 1322"/>
                <a:gd name="T39" fmla="*/ 2147483647 h 1898"/>
                <a:gd name="T40" fmla="*/ 2147483647 w 1322"/>
                <a:gd name="T41" fmla="*/ 2147483647 h 1898"/>
                <a:gd name="T42" fmla="*/ 2147483647 w 1322"/>
                <a:gd name="T43" fmla="*/ 2147483647 h 1898"/>
                <a:gd name="T44" fmla="*/ 2147483647 w 1322"/>
                <a:gd name="T45" fmla="*/ 2147483647 h 1898"/>
                <a:gd name="T46" fmla="*/ 2147483647 w 1322"/>
                <a:gd name="T47" fmla="*/ 2147483647 h 1898"/>
                <a:gd name="T48" fmla="*/ 2147483647 w 1322"/>
                <a:gd name="T49" fmla="*/ 2147483647 h 1898"/>
                <a:gd name="T50" fmla="*/ 2147483647 w 1322"/>
                <a:gd name="T51" fmla="*/ 2147483647 h 1898"/>
                <a:gd name="T52" fmla="*/ 2147483647 w 1322"/>
                <a:gd name="T53" fmla="*/ 2147483647 h 1898"/>
                <a:gd name="T54" fmla="*/ 2147483647 w 1322"/>
                <a:gd name="T55" fmla="*/ 2147483647 h 1898"/>
                <a:gd name="T56" fmla="*/ 2147483647 w 1322"/>
                <a:gd name="T57" fmla="*/ 2147483647 h 1898"/>
                <a:gd name="T58" fmla="*/ 2147483647 w 1322"/>
                <a:gd name="T59" fmla="*/ 2147483647 h 1898"/>
                <a:gd name="T60" fmla="*/ 2147483647 w 1322"/>
                <a:gd name="T61" fmla="*/ 2147483647 h 1898"/>
                <a:gd name="T62" fmla="*/ 2147483647 w 1322"/>
                <a:gd name="T63" fmla="*/ 2147483647 h 1898"/>
                <a:gd name="T64" fmla="*/ 2147483647 w 1322"/>
                <a:gd name="T65" fmla="*/ 2147483647 h 1898"/>
                <a:gd name="T66" fmla="*/ 2147483647 w 1322"/>
                <a:gd name="T67" fmla="*/ 2147483647 h 1898"/>
                <a:gd name="T68" fmla="*/ 2147483647 w 1322"/>
                <a:gd name="T69" fmla="*/ 2147483647 h 1898"/>
                <a:gd name="T70" fmla="*/ 2147483647 w 1322"/>
                <a:gd name="T71" fmla="*/ 2147483647 h 1898"/>
                <a:gd name="T72" fmla="*/ 2147483647 w 1322"/>
                <a:gd name="T73" fmla="*/ 2147483647 h 1898"/>
                <a:gd name="T74" fmla="*/ 2147483647 w 1322"/>
                <a:gd name="T75" fmla="*/ 2147483647 h 1898"/>
                <a:gd name="T76" fmla="*/ 2147483647 w 1322"/>
                <a:gd name="T77" fmla="*/ 2147483647 h 1898"/>
                <a:gd name="T78" fmla="*/ 2147483647 w 1322"/>
                <a:gd name="T79" fmla="*/ 2147483647 h 1898"/>
                <a:gd name="T80" fmla="*/ 2147483647 w 1322"/>
                <a:gd name="T81" fmla="*/ 2147483647 h 1898"/>
                <a:gd name="T82" fmla="*/ 2147483647 w 1322"/>
                <a:gd name="T83" fmla="*/ 2147483647 h 1898"/>
                <a:gd name="T84" fmla="*/ 2147483647 w 1322"/>
                <a:gd name="T85" fmla="*/ 2147483647 h 1898"/>
                <a:gd name="T86" fmla="*/ 2147483647 w 1322"/>
                <a:gd name="T87" fmla="*/ 2147483647 h 1898"/>
                <a:gd name="T88" fmla="*/ 2147483647 w 1322"/>
                <a:gd name="T89" fmla="*/ 2147483647 h 1898"/>
                <a:gd name="T90" fmla="*/ 2147483647 w 1322"/>
                <a:gd name="T91" fmla="*/ 2147483647 h 1898"/>
                <a:gd name="T92" fmla="*/ 2147483647 w 1322"/>
                <a:gd name="T93" fmla="*/ 2147483647 h 1898"/>
                <a:gd name="T94" fmla="*/ 2147483647 w 1322"/>
                <a:gd name="T95" fmla="*/ 2147483647 h 1898"/>
                <a:gd name="T96" fmla="*/ 2147483647 w 1322"/>
                <a:gd name="T97" fmla="*/ 2147483647 h 1898"/>
                <a:gd name="T98" fmla="*/ 2147483647 w 1322"/>
                <a:gd name="T99" fmla="*/ 2147483647 h 1898"/>
                <a:gd name="T100" fmla="*/ 2147483647 w 1322"/>
                <a:gd name="T101" fmla="*/ 2147483647 h 1898"/>
                <a:gd name="T102" fmla="*/ 2147483647 w 1322"/>
                <a:gd name="T103" fmla="*/ 2147483647 h 1898"/>
                <a:gd name="T104" fmla="*/ 2147483647 w 1322"/>
                <a:gd name="T105" fmla="*/ 2147483647 h 1898"/>
                <a:gd name="T106" fmla="*/ 2147483647 w 1322"/>
                <a:gd name="T107" fmla="*/ 2147483647 h 1898"/>
                <a:gd name="T108" fmla="*/ 2147483647 w 1322"/>
                <a:gd name="T109" fmla="*/ 2147483647 h 1898"/>
                <a:gd name="T110" fmla="*/ 2147483647 w 1322"/>
                <a:gd name="T111" fmla="*/ 2147483647 h 1898"/>
                <a:gd name="T112" fmla="*/ 2147483647 w 1322"/>
                <a:gd name="T113" fmla="*/ 2147483647 h 1898"/>
                <a:gd name="T114" fmla="*/ 2147483647 w 1322"/>
                <a:gd name="T115" fmla="*/ 2147483647 h 189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1322" h="1898">
                  <a:moveTo>
                    <a:pt x="1242" y="731"/>
                  </a:moveTo>
                  <a:lnTo>
                    <a:pt x="1258" y="701"/>
                  </a:lnTo>
                  <a:lnTo>
                    <a:pt x="1277" y="669"/>
                  </a:lnTo>
                  <a:lnTo>
                    <a:pt x="1296" y="626"/>
                  </a:lnTo>
                  <a:lnTo>
                    <a:pt x="1309" y="575"/>
                  </a:lnTo>
                  <a:lnTo>
                    <a:pt x="1317" y="549"/>
                  </a:lnTo>
                  <a:lnTo>
                    <a:pt x="1320" y="522"/>
                  </a:lnTo>
                  <a:lnTo>
                    <a:pt x="1322" y="492"/>
                  </a:lnTo>
                  <a:lnTo>
                    <a:pt x="1322" y="463"/>
                  </a:lnTo>
                  <a:lnTo>
                    <a:pt x="1317" y="434"/>
                  </a:lnTo>
                  <a:lnTo>
                    <a:pt x="1309" y="407"/>
                  </a:lnTo>
                  <a:lnTo>
                    <a:pt x="1274" y="294"/>
                  </a:lnTo>
                  <a:lnTo>
                    <a:pt x="1255" y="241"/>
                  </a:lnTo>
                  <a:lnTo>
                    <a:pt x="1242" y="214"/>
                  </a:lnTo>
                  <a:lnTo>
                    <a:pt x="1231" y="190"/>
                  </a:lnTo>
                  <a:lnTo>
                    <a:pt x="1215" y="169"/>
                  </a:lnTo>
                  <a:lnTo>
                    <a:pt x="1199" y="144"/>
                  </a:lnTo>
                  <a:lnTo>
                    <a:pt x="1178" y="123"/>
                  </a:lnTo>
                  <a:lnTo>
                    <a:pt x="1156" y="104"/>
                  </a:lnTo>
                  <a:lnTo>
                    <a:pt x="1130" y="86"/>
                  </a:lnTo>
                  <a:lnTo>
                    <a:pt x="1100" y="69"/>
                  </a:lnTo>
                  <a:lnTo>
                    <a:pt x="1068" y="56"/>
                  </a:lnTo>
                  <a:lnTo>
                    <a:pt x="1031" y="43"/>
                  </a:lnTo>
                  <a:lnTo>
                    <a:pt x="977" y="27"/>
                  </a:lnTo>
                  <a:lnTo>
                    <a:pt x="929" y="13"/>
                  </a:lnTo>
                  <a:lnTo>
                    <a:pt x="881" y="5"/>
                  </a:lnTo>
                  <a:lnTo>
                    <a:pt x="830" y="0"/>
                  </a:lnTo>
                  <a:lnTo>
                    <a:pt x="779" y="0"/>
                  </a:lnTo>
                  <a:lnTo>
                    <a:pt x="723" y="8"/>
                  </a:lnTo>
                  <a:lnTo>
                    <a:pt x="658" y="21"/>
                  </a:lnTo>
                  <a:lnTo>
                    <a:pt x="586" y="43"/>
                  </a:lnTo>
                  <a:lnTo>
                    <a:pt x="519" y="64"/>
                  </a:lnTo>
                  <a:lnTo>
                    <a:pt x="460" y="86"/>
                  </a:lnTo>
                  <a:lnTo>
                    <a:pt x="409" y="107"/>
                  </a:lnTo>
                  <a:lnTo>
                    <a:pt x="364" y="134"/>
                  </a:lnTo>
                  <a:lnTo>
                    <a:pt x="321" y="163"/>
                  </a:lnTo>
                  <a:lnTo>
                    <a:pt x="276" y="203"/>
                  </a:lnTo>
                  <a:lnTo>
                    <a:pt x="227" y="254"/>
                  </a:lnTo>
                  <a:lnTo>
                    <a:pt x="174" y="318"/>
                  </a:lnTo>
                  <a:lnTo>
                    <a:pt x="150" y="351"/>
                  </a:lnTo>
                  <a:lnTo>
                    <a:pt x="126" y="391"/>
                  </a:lnTo>
                  <a:lnTo>
                    <a:pt x="104" y="434"/>
                  </a:lnTo>
                  <a:lnTo>
                    <a:pt x="83" y="484"/>
                  </a:lnTo>
                  <a:lnTo>
                    <a:pt x="61" y="538"/>
                  </a:lnTo>
                  <a:lnTo>
                    <a:pt x="43" y="592"/>
                  </a:lnTo>
                  <a:lnTo>
                    <a:pt x="29" y="645"/>
                  </a:lnTo>
                  <a:lnTo>
                    <a:pt x="19" y="696"/>
                  </a:lnTo>
                  <a:lnTo>
                    <a:pt x="11" y="749"/>
                  </a:lnTo>
                  <a:lnTo>
                    <a:pt x="2" y="819"/>
                  </a:lnTo>
                  <a:lnTo>
                    <a:pt x="0" y="894"/>
                  </a:lnTo>
                  <a:lnTo>
                    <a:pt x="0" y="974"/>
                  </a:lnTo>
                  <a:lnTo>
                    <a:pt x="2" y="1055"/>
                  </a:lnTo>
                  <a:lnTo>
                    <a:pt x="11" y="1130"/>
                  </a:lnTo>
                  <a:lnTo>
                    <a:pt x="21" y="1199"/>
                  </a:lnTo>
                  <a:lnTo>
                    <a:pt x="29" y="1229"/>
                  </a:lnTo>
                  <a:lnTo>
                    <a:pt x="37" y="1258"/>
                  </a:lnTo>
                  <a:lnTo>
                    <a:pt x="75" y="1365"/>
                  </a:lnTo>
                  <a:lnTo>
                    <a:pt x="96" y="1421"/>
                  </a:lnTo>
                  <a:lnTo>
                    <a:pt x="120" y="1478"/>
                  </a:lnTo>
                  <a:lnTo>
                    <a:pt x="147" y="1531"/>
                  </a:lnTo>
                  <a:lnTo>
                    <a:pt x="174" y="1579"/>
                  </a:lnTo>
                  <a:lnTo>
                    <a:pt x="206" y="1625"/>
                  </a:lnTo>
                  <a:lnTo>
                    <a:pt x="222" y="1646"/>
                  </a:lnTo>
                  <a:lnTo>
                    <a:pt x="238" y="1665"/>
                  </a:lnTo>
                  <a:lnTo>
                    <a:pt x="273" y="1700"/>
                  </a:lnTo>
                  <a:lnTo>
                    <a:pt x="316" y="1732"/>
                  </a:lnTo>
                  <a:lnTo>
                    <a:pt x="359" y="1764"/>
                  </a:lnTo>
                  <a:lnTo>
                    <a:pt x="404" y="1793"/>
                  </a:lnTo>
                  <a:lnTo>
                    <a:pt x="452" y="1820"/>
                  </a:lnTo>
                  <a:lnTo>
                    <a:pt x="503" y="1842"/>
                  </a:lnTo>
                  <a:lnTo>
                    <a:pt x="551" y="1860"/>
                  </a:lnTo>
                  <a:lnTo>
                    <a:pt x="602" y="1876"/>
                  </a:lnTo>
                  <a:lnTo>
                    <a:pt x="672" y="1890"/>
                  </a:lnTo>
                  <a:lnTo>
                    <a:pt x="741" y="1898"/>
                  </a:lnTo>
                  <a:lnTo>
                    <a:pt x="806" y="1898"/>
                  </a:lnTo>
                  <a:lnTo>
                    <a:pt x="867" y="1895"/>
                  </a:lnTo>
                  <a:lnTo>
                    <a:pt x="926" y="1887"/>
                  </a:lnTo>
                  <a:lnTo>
                    <a:pt x="982" y="1871"/>
                  </a:lnTo>
                  <a:lnTo>
                    <a:pt x="1009" y="1863"/>
                  </a:lnTo>
                  <a:lnTo>
                    <a:pt x="1033" y="1852"/>
                  </a:lnTo>
                  <a:lnTo>
                    <a:pt x="1057" y="1839"/>
                  </a:lnTo>
                  <a:lnTo>
                    <a:pt x="1081" y="1826"/>
                  </a:lnTo>
                  <a:lnTo>
                    <a:pt x="1119" y="1796"/>
                  </a:lnTo>
                  <a:lnTo>
                    <a:pt x="1154" y="1769"/>
                  </a:lnTo>
                  <a:lnTo>
                    <a:pt x="1183" y="1737"/>
                  </a:lnTo>
                  <a:lnTo>
                    <a:pt x="1205" y="1708"/>
                  </a:lnTo>
                  <a:lnTo>
                    <a:pt x="1223" y="1676"/>
                  </a:lnTo>
                  <a:lnTo>
                    <a:pt x="1237" y="1644"/>
                  </a:lnTo>
                  <a:lnTo>
                    <a:pt x="1247" y="1611"/>
                  </a:lnTo>
                  <a:lnTo>
                    <a:pt x="1253" y="1577"/>
                  </a:lnTo>
                  <a:lnTo>
                    <a:pt x="1258" y="1542"/>
                  </a:lnTo>
                  <a:lnTo>
                    <a:pt x="1261" y="1504"/>
                  </a:lnTo>
                  <a:lnTo>
                    <a:pt x="1261" y="1467"/>
                  </a:lnTo>
                  <a:lnTo>
                    <a:pt x="1255" y="1429"/>
                  </a:lnTo>
                  <a:lnTo>
                    <a:pt x="1245" y="1397"/>
                  </a:lnTo>
                  <a:lnTo>
                    <a:pt x="1239" y="1381"/>
                  </a:lnTo>
                  <a:lnTo>
                    <a:pt x="1231" y="1365"/>
                  </a:lnTo>
                  <a:lnTo>
                    <a:pt x="1223" y="1354"/>
                  </a:lnTo>
                  <a:lnTo>
                    <a:pt x="1213" y="1341"/>
                  </a:lnTo>
                  <a:lnTo>
                    <a:pt x="1199" y="1333"/>
                  </a:lnTo>
                  <a:lnTo>
                    <a:pt x="1186" y="1325"/>
                  </a:lnTo>
                  <a:lnTo>
                    <a:pt x="1156" y="1314"/>
                  </a:lnTo>
                  <a:lnTo>
                    <a:pt x="1130" y="1304"/>
                  </a:lnTo>
                  <a:lnTo>
                    <a:pt x="1103" y="1298"/>
                  </a:lnTo>
                  <a:lnTo>
                    <a:pt x="1076" y="1296"/>
                  </a:lnTo>
                  <a:lnTo>
                    <a:pt x="1055" y="1293"/>
                  </a:lnTo>
                  <a:lnTo>
                    <a:pt x="1033" y="1296"/>
                  </a:lnTo>
                  <a:lnTo>
                    <a:pt x="1017" y="1301"/>
                  </a:lnTo>
                  <a:lnTo>
                    <a:pt x="1001" y="1309"/>
                  </a:lnTo>
                  <a:lnTo>
                    <a:pt x="980" y="1333"/>
                  </a:lnTo>
                  <a:lnTo>
                    <a:pt x="961" y="1360"/>
                  </a:lnTo>
                  <a:lnTo>
                    <a:pt x="942" y="1381"/>
                  </a:lnTo>
                  <a:lnTo>
                    <a:pt x="931" y="1392"/>
                  </a:lnTo>
                  <a:lnTo>
                    <a:pt x="918" y="1397"/>
                  </a:lnTo>
                  <a:lnTo>
                    <a:pt x="902" y="1403"/>
                  </a:lnTo>
                  <a:lnTo>
                    <a:pt x="883" y="1405"/>
                  </a:lnTo>
                  <a:lnTo>
                    <a:pt x="865" y="1405"/>
                  </a:lnTo>
                  <a:lnTo>
                    <a:pt x="846" y="1403"/>
                  </a:lnTo>
                  <a:lnTo>
                    <a:pt x="838" y="1400"/>
                  </a:lnTo>
                  <a:lnTo>
                    <a:pt x="830" y="1395"/>
                  </a:lnTo>
                  <a:lnTo>
                    <a:pt x="824" y="1389"/>
                  </a:lnTo>
                  <a:lnTo>
                    <a:pt x="819" y="1381"/>
                  </a:lnTo>
                  <a:lnTo>
                    <a:pt x="816" y="1371"/>
                  </a:lnTo>
                  <a:lnTo>
                    <a:pt x="816" y="1357"/>
                  </a:lnTo>
                  <a:lnTo>
                    <a:pt x="819" y="1341"/>
                  </a:lnTo>
                  <a:lnTo>
                    <a:pt x="824" y="1322"/>
                  </a:lnTo>
                  <a:lnTo>
                    <a:pt x="846" y="1269"/>
                  </a:lnTo>
                  <a:lnTo>
                    <a:pt x="851" y="1250"/>
                  </a:lnTo>
                  <a:lnTo>
                    <a:pt x="854" y="1247"/>
                  </a:lnTo>
                  <a:lnTo>
                    <a:pt x="857" y="1239"/>
                  </a:lnTo>
                  <a:lnTo>
                    <a:pt x="865" y="1221"/>
                  </a:lnTo>
                  <a:lnTo>
                    <a:pt x="867" y="1213"/>
                  </a:lnTo>
                  <a:lnTo>
                    <a:pt x="867" y="1205"/>
                  </a:lnTo>
                  <a:lnTo>
                    <a:pt x="865" y="1199"/>
                  </a:lnTo>
                  <a:lnTo>
                    <a:pt x="859" y="1197"/>
                  </a:lnTo>
                  <a:lnTo>
                    <a:pt x="846" y="1199"/>
                  </a:lnTo>
                  <a:lnTo>
                    <a:pt x="824" y="1210"/>
                  </a:lnTo>
                  <a:lnTo>
                    <a:pt x="787" y="1229"/>
                  </a:lnTo>
                  <a:lnTo>
                    <a:pt x="763" y="1239"/>
                  </a:lnTo>
                  <a:lnTo>
                    <a:pt x="744" y="1247"/>
                  </a:lnTo>
                  <a:lnTo>
                    <a:pt x="717" y="1247"/>
                  </a:lnTo>
                  <a:lnTo>
                    <a:pt x="683" y="1247"/>
                  </a:lnTo>
                  <a:lnTo>
                    <a:pt x="664" y="1245"/>
                  </a:lnTo>
                  <a:lnTo>
                    <a:pt x="648" y="1239"/>
                  </a:lnTo>
                  <a:lnTo>
                    <a:pt x="637" y="1234"/>
                  </a:lnTo>
                  <a:lnTo>
                    <a:pt x="634" y="1229"/>
                  </a:lnTo>
                  <a:lnTo>
                    <a:pt x="634" y="1223"/>
                  </a:lnTo>
                  <a:lnTo>
                    <a:pt x="634" y="1215"/>
                  </a:lnTo>
                  <a:lnTo>
                    <a:pt x="637" y="1207"/>
                  </a:lnTo>
                  <a:lnTo>
                    <a:pt x="648" y="1188"/>
                  </a:lnTo>
                  <a:lnTo>
                    <a:pt x="674" y="1154"/>
                  </a:lnTo>
                  <a:lnTo>
                    <a:pt x="688" y="1132"/>
                  </a:lnTo>
                  <a:lnTo>
                    <a:pt x="693" y="1124"/>
                  </a:lnTo>
                  <a:lnTo>
                    <a:pt x="701" y="1122"/>
                  </a:lnTo>
                  <a:lnTo>
                    <a:pt x="712" y="1119"/>
                  </a:lnTo>
                  <a:lnTo>
                    <a:pt x="728" y="1116"/>
                  </a:lnTo>
                  <a:lnTo>
                    <a:pt x="763" y="1111"/>
                  </a:lnTo>
                  <a:lnTo>
                    <a:pt x="795" y="1108"/>
                  </a:lnTo>
                  <a:lnTo>
                    <a:pt x="819" y="1100"/>
                  </a:lnTo>
                  <a:lnTo>
                    <a:pt x="827" y="1097"/>
                  </a:lnTo>
                  <a:lnTo>
                    <a:pt x="832" y="1092"/>
                  </a:lnTo>
                  <a:lnTo>
                    <a:pt x="840" y="1079"/>
                  </a:lnTo>
                  <a:lnTo>
                    <a:pt x="843" y="1068"/>
                  </a:lnTo>
                  <a:lnTo>
                    <a:pt x="846" y="1060"/>
                  </a:lnTo>
                  <a:lnTo>
                    <a:pt x="846" y="1049"/>
                  </a:lnTo>
                  <a:lnTo>
                    <a:pt x="843" y="1041"/>
                  </a:lnTo>
                  <a:lnTo>
                    <a:pt x="835" y="1031"/>
                  </a:lnTo>
                  <a:lnTo>
                    <a:pt x="824" y="1025"/>
                  </a:lnTo>
                  <a:lnTo>
                    <a:pt x="798" y="1017"/>
                  </a:lnTo>
                  <a:lnTo>
                    <a:pt x="768" y="1012"/>
                  </a:lnTo>
                  <a:lnTo>
                    <a:pt x="704" y="1004"/>
                  </a:lnTo>
                  <a:lnTo>
                    <a:pt x="672" y="996"/>
                  </a:lnTo>
                  <a:lnTo>
                    <a:pt x="656" y="990"/>
                  </a:lnTo>
                  <a:lnTo>
                    <a:pt x="640" y="982"/>
                  </a:lnTo>
                  <a:lnTo>
                    <a:pt x="626" y="972"/>
                  </a:lnTo>
                  <a:lnTo>
                    <a:pt x="616" y="964"/>
                  </a:lnTo>
                  <a:lnTo>
                    <a:pt x="608" y="950"/>
                  </a:lnTo>
                  <a:lnTo>
                    <a:pt x="602" y="937"/>
                  </a:lnTo>
                  <a:lnTo>
                    <a:pt x="602" y="923"/>
                  </a:lnTo>
                  <a:lnTo>
                    <a:pt x="602" y="907"/>
                  </a:lnTo>
                  <a:lnTo>
                    <a:pt x="605" y="891"/>
                  </a:lnTo>
                  <a:lnTo>
                    <a:pt x="610" y="878"/>
                  </a:lnTo>
                  <a:lnTo>
                    <a:pt x="618" y="867"/>
                  </a:lnTo>
                  <a:lnTo>
                    <a:pt x="629" y="862"/>
                  </a:lnTo>
                  <a:lnTo>
                    <a:pt x="642" y="859"/>
                  </a:lnTo>
                  <a:lnTo>
                    <a:pt x="661" y="865"/>
                  </a:lnTo>
                  <a:lnTo>
                    <a:pt x="691" y="878"/>
                  </a:lnTo>
                  <a:lnTo>
                    <a:pt x="707" y="889"/>
                  </a:lnTo>
                  <a:lnTo>
                    <a:pt x="723" y="897"/>
                  </a:lnTo>
                  <a:lnTo>
                    <a:pt x="752" y="905"/>
                  </a:lnTo>
                  <a:lnTo>
                    <a:pt x="774" y="905"/>
                  </a:lnTo>
                  <a:lnTo>
                    <a:pt x="798" y="902"/>
                  </a:lnTo>
                  <a:lnTo>
                    <a:pt x="819" y="894"/>
                  </a:lnTo>
                  <a:lnTo>
                    <a:pt x="838" y="883"/>
                  </a:lnTo>
                  <a:lnTo>
                    <a:pt x="843" y="878"/>
                  </a:lnTo>
                  <a:lnTo>
                    <a:pt x="848" y="873"/>
                  </a:lnTo>
                  <a:lnTo>
                    <a:pt x="851" y="865"/>
                  </a:lnTo>
                  <a:lnTo>
                    <a:pt x="851" y="859"/>
                  </a:lnTo>
                  <a:lnTo>
                    <a:pt x="848" y="851"/>
                  </a:lnTo>
                  <a:lnTo>
                    <a:pt x="843" y="846"/>
                  </a:lnTo>
                  <a:lnTo>
                    <a:pt x="832" y="838"/>
                  </a:lnTo>
                  <a:lnTo>
                    <a:pt x="816" y="830"/>
                  </a:lnTo>
                  <a:lnTo>
                    <a:pt x="787" y="819"/>
                  </a:lnTo>
                  <a:lnTo>
                    <a:pt x="763" y="808"/>
                  </a:lnTo>
                  <a:lnTo>
                    <a:pt x="728" y="800"/>
                  </a:lnTo>
                  <a:lnTo>
                    <a:pt x="715" y="795"/>
                  </a:lnTo>
                  <a:lnTo>
                    <a:pt x="704" y="790"/>
                  </a:lnTo>
                  <a:lnTo>
                    <a:pt x="696" y="782"/>
                  </a:lnTo>
                  <a:lnTo>
                    <a:pt x="688" y="771"/>
                  </a:lnTo>
                  <a:lnTo>
                    <a:pt x="680" y="755"/>
                  </a:lnTo>
                  <a:lnTo>
                    <a:pt x="674" y="741"/>
                  </a:lnTo>
                  <a:lnTo>
                    <a:pt x="672" y="725"/>
                  </a:lnTo>
                  <a:lnTo>
                    <a:pt x="669" y="709"/>
                  </a:lnTo>
                  <a:lnTo>
                    <a:pt x="674" y="696"/>
                  </a:lnTo>
                  <a:lnTo>
                    <a:pt x="680" y="685"/>
                  </a:lnTo>
                  <a:lnTo>
                    <a:pt x="691" y="674"/>
                  </a:lnTo>
                  <a:lnTo>
                    <a:pt x="707" y="666"/>
                  </a:lnTo>
                  <a:lnTo>
                    <a:pt x="741" y="656"/>
                  </a:lnTo>
                  <a:lnTo>
                    <a:pt x="755" y="653"/>
                  </a:lnTo>
                  <a:lnTo>
                    <a:pt x="768" y="653"/>
                  </a:lnTo>
                  <a:lnTo>
                    <a:pt x="779" y="653"/>
                  </a:lnTo>
                  <a:lnTo>
                    <a:pt x="790" y="656"/>
                  </a:lnTo>
                  <a:lnTo>
                    <a:pt x="798" y="664"/>
                  </a:lnTo>
                  <a:lnTo>
                    <a:pt x="806" y="672"/>
                  </a:lnTo>
                  <a:lnTo>
                    <a:pt x="816" y="696"/>
                  </a:lnTo>
                  <a:lnTo>
                    <a:pt x="824" y="717"/>
                  </a:lnTo>
                  <a:lnTo>
                    <a:pt x="835" y="736"/>
                  </a:lnTo>
                  <a:lnTo>
                    <a:pt x="838" y="741"/>
                  </a:lnTo>
                  <a:lnTo>
                    <a:pt x="843" y="747"/>
                  </a:lnTo>
                  <a:lnTo>
                    <a:pt x="867" y="755"/>
                  </a:lnTo>
                  <a:lnTo>
                    <a:pt x="883" y="757"/>
                  </a:lnTo>
                  <a:lnTo>
                    <a:pt x="899" y="760"/>
                  </a:lnTo>
                  <a:lnTo>
                    <a:pt x="913" y="755"/>
                  </a:lnTo>
                  <a:lnTo>
                    <a:pt x="918" y="752"/>
                  </a:lnTo>
                  <a:lnTo>
                    <a:pt x="923" y="747"/>
                  </a:lnTo>
                  <a:lnTo>
                    <a:pt x="926" y="739"/>
                  </a:lnTo>
                  <a:lnTo>
                    <a:pt x="926" y="728"/>
                  </a:lnTo>
                  <a:lnTo>
                    <a:pt x="926" y="715"/>
                  </a:lnTo>
                  <a:lnTo>
                    <a:pt x="923" y="701"/>
                  </a:lnTo>
                  <a:lnTo>
                    <a:pt x="899" y="621"/>
                  </a:lnTo>
                  <a:lnTo>
                    <a:pt x="897" y="605"/>
                  </a:lnTo>
                  <a:lnTo>
                    <a:pt x="894" y="592"/>
                  </a:lnTo>
                  <a:lnTo>
                    <a:pt x="899" y="581"/>
                  </a:lnTo>
                  <a:lnTo>
                    <a:pt x="913" y="567"/>
                  </a:lnTo>
                  <a:lnTo>
                    <a:pt x="929" y="551"/>
                  </a:lnTo>
                  <a:lnTo>
                    <a:pt x="950" y="535"/>
                  </a:lnTo>
                  <a:lnTo>
                    <a:pt x="969" y="527"/>
                  </a:lnTo>
                  <a:lnTo>
                    <a:pt x="980" y="525"/>
                  </a:lnTo>
                  <a:lnTo>
                    <a:pt x="990" y="525"/>
                  </a:lnTo>
                  <a:lnTo>
                    <a:pt x="998" y="527"/>
                  </a:lnTo>
                  <a:lnTo>
                    <a:pt x="1004" y="535"/>
                  </a:lnTo>
                  <a:lnTo>
                    <a:pt x="1009" y="543"/>
                  </a:lnTo>
                  <a:lnTo>
                    <a:pt x="1014" y="557"/>
                  </a:lnTo>
                  <a:lnTo>
                    <a:pt x="1017" y="586"/>
                  </a:lnTo>
                  <a:lnTo>
                    <a:pt x="1020" y="610"/>
                  </a:lnTo>
                  <a:lnTo>
                    <a:pt x="1020" y="648"/>
                  </a:lnTo>
                  <a:lnTo>
                    <a:pt x="1020" y="677"/>
                  </a:lnTo>
                  <a:lnTo>
                    <a:pt x="1023" y="688"/>
                  </a:lnTo>
                  <a:lnTo>
                    <a:pt x="1025" y="701"/>
                  </a:lnTo>
                  <a:lnTo>
                    <a:pt x="1033" y="712"/>
                  </a:lnTo>
                  <a:lnTo>
                    <a:pt x="1039" y="725"/>
                  </a:lnTo>
                  <a:lnTo>
                    <a:pt x="1049" y="733"/>
                  </a:lnTo>
                  <a:lnTo>
                    <a:pt x="1057" y="739"/>
                  </a:lnTo>
                  <a:lnTo>
                    <a:pt x="1065" y="741"/>
                  </a:lnTo>
                  <a:lnTo>
                    <a:pt x="1076" y="741"/>
                  </a:lnTo>
                  <a:lnTo>
                    <a:pt x="1081" y="736"/>
                  </a:lnTo>
                  <a:lnTo>
                    <a:pt x="1087" y="725"/>
                  </a:lnTo>
                  <a:lnTo>
                    <a:pt x="1108" y="661"/>
                  </a:lnTo>
                  <a:lnTo>
                    <a:pt x="1114" y="648"/>
                  </a:lnTo>
                  <a:lnTo>
                    <a:pt x="1119" y="634"/>
                  </a:lnTo>
                  <a:lnTo>
                    <a:pt x="1127" y="624"/>
                  </a:lnTo>
                  <a:lnTo>
                    <a:pt x="1138" y="618"/>
                  </a:lnTo>
                  <a:lnTo>
                    <a:pt x="1151" y="616"/>
                  </a:lnTo>
                  <a:lnTo>
                    <a:pt x="1164" y="616"/>
                  </a:lnTo>
                  <a:lnTo>
                    <a:pt x="1183" y="616"/>
                  </a:lnTo>
                  <a:lnTo>
                    <a:pt x="1197" y="618"/>
                  </a:lnTo>
                  <a:lnTo>
                    <a:pt x="1210" y="621"/>
                  </a:lnTo>
                  <a:lnTo>
                    <a:pt x="1221" y="629"/>
                  </a:lnTo>
                  <a:lnTo>
                    <a:pt x="1223" y="632"/>
                  </a:lnTo>
                  <a:lnTo>
                    <a:pt x="1223" y="637"/>
                  </a:lnTo>
                  <a:lnTo>
                    <a:pt x="1221" y="640"/>
                  </a:lnTo>
                  <a:lnTo>
                    <a:pt x="1218" y="648"/>
                  </a:lnTo>
                  <a:lnTo>
                    <a:pt x="1199" y="669"/>
                  </a:lnTo>
                  <a:lnTo>
                    <a:pt x="1183" y="688"/>
                  </a:lnTo>
                  <a:lnTo>
                    <a:pt x="1180" y="696"/>
                  </a:lnTo>
                  <a:lnTo>
                    <a:pt x="1178" y="704"/>
                  </a:lnTo>
                  <a:lnTo>
                    <a:pt x="1178" y="709"/>
                  </a:lnTo>
                  <a:lnTo>
                    <a:pt x="1183" y="717"/>
                  </a:lnTo>
                  <a:lnTo>
                    <a:pt x="1197" y="731"/>
                  </a:lnTo>
                  <a:lnTo>
                    <a:pt x="1213" y="739"/>
                  </a:lnTo>
                  <a:lnTo>
                    <a:pt x="1221" y="741"/>
                  </a:lnTo>
                  <a:lnTo>
                    <a:pt x="1229" y="741"/>
                  </a:lnTo>
                  <a:lnTo>
                    <a:pt x="1237" y="739"/>
                  </a:lnTo>
                  <a:lnTo>
                    <a:pt x="1242" y="731"/>
                  </a:lnTo>
                  <a:close/>
                </a:path>
              </a:pathLst>
            </a:custGeom>
            <a:noFill/>
            <a:ln w="11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1400">
                <a:solidFill>
                  <a:srgbClr val="9A8B7D"/>
                </a:solidFill>
                <a:cs typeface="Arial" pitchFamily="34" charset="0"/>
              </a:endParaRPr>
            </a:p>
          </p:txBody>
        </p:sp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id="{51BA3A3A-30A0-4686-8A08-B70EC2180B82}"/>
                </a:ext>
              </a:extLst>
            </p:cNvPr>
            <p:cNvSpPr>
              <a:spLocks/>
            </p:cNvSpPr>
            <p:nvPr/>
          </p:nvSpPr>
          <p:spPr bwMode="auto">
            <a:xfrm rot="16510945">
              <a:off x="8950327" y="1256430"/>
              <a:ext cx="1972438" cy="1640649"/>
            </a:xfrm>
            <a:custGeom>
              <a:avLst/>
              <a:gdLst>
                <a:gd name="T0" fmla="*/ 2147483647 w 2562"/>
                <a:gd name="T1" fmla="*/ 2147483647 h 2131"/>
                <a:gd name="T2" fmla="*/ 2147483647 w 2562"/>
                <a:gd name="T3" fmla="*/ 2147483647 h 2131"/>
                <a:gd name="T4" fmla="*/ 2147483647 w 2562"/>
                <a:gd name="T5" fmla="*/ 2147483647 h 2131"/>
                <a:gd name="T6" fmla="*/ 2147483647 w 2562"/>
                <a:gd name="T7" fmla="*/ 2147483647 h 2131"/>
                <a:gd name="T8" fmla="*/ 2147483647 w 2562"/>
                <a:gd name="T9" fmla="*/ 2147483647 h 2131"/>
                <a:gd name="T10" fmla="*/ 2147483647 w 2562"/>
                <a:gd name="T11" fmla="*/ 2147483647 h 2131"/>
                <a:gd name="T12" fmla="*/ 2147483647 w 2562"/>
                <a:gd name="T13" fmla="*/ 2147483647 h 2131"/>
                <a:gd name="T14" fmla="*/ 2147483647 w 2562"/>
                <a:gd name="T15" fmla="*/ 2147483647 h 2131"/>
                <a:gd name="T16" fmla="*/ 2147483647 w 2562"/>
                <a:gd name="T17" fmla="*/ 2147483647 h 2131"/>
                <a:gd name="T18" fmla="*/ 2147483647 w 2562"/>
                <a:gd name="T19" fmla="*/ 2147483647 h 2131"/>
                <a:gd name="T20" fmla="*/ 2147483647 w 2562"/>
                <a:gd name="T21" fmla="*/ 2147483647 h 2131"/>
                <a:gd name="T22" fmla="*/ 2147483647 w 2562"/>
                <a:gd name="T23" fmla="*/ 2147483647 h 2131"/>
                <a:gd name="T24" fmla="*/ 2147483647 w 2562"/>
                <a:gd name="T25" fmla="*/ 2147483647 h 2131"/>
                <a:gd name="T26" fmla="*/ 2147483647 w 2562"/>
                <a:gd name="T27" fmla="*/ 2147483647 h 2131"/>
                <a:gd name="T28" fmla="*/ 2147483647 w 2562"/>
                <a:gd name="T29" fmla="*/ 2147483647 h 2131"/>
                <a:gd name="T30" fmla="*/ 2147483647 w 2562"/>
                <a:gd name="T31" fmla="*/ 2147483647 h 2131"/>
                <a:gd name="T32" fmla="*/ 2147483647 w 2562"/>
                <a:gd name="T33" fmla="*/ 2147483647 h 2131"/>
                <a:gd name="T34" fmla="*/ 2147483647 w 2562"/>
                <a:gd name="T35" fmla="*/ 2147483647 h 2131"/>
                <a:gd name="T36" fmla="*/ 2147483647 w 2562"/>
                <a:gd name="T37" fmla="*/ 2147483647 h 2131"/>
                <a:gd name="T38" fmla="*/ 2147483647 w 2562"/>
                <a:gd name="T39" fmla="*/ 2147483647 h 2131"/>
                <a:gd name="T40" fmla="*/ 2147483647 w 2562"/>
                <a:gd name="T41" fmla="*/ 2147483647 h 2131"/>
                <a:gd name="T42" fmla="*/ 2147483647 w 2562"/>
                <a:gd name="T43" fmla="*/ 2147483647 h 2131"/>
                <a:gd name="T44" fmla="*/ 2147483647 w 2562"/>
                <a:gd name="T45" fmla="*/ 0 h 2131"/>
                <a:gd name="T46" fmla="*/ 2147483647 w 2562"/>
                <a:gd name="T47" fmla="*/ 2147483647 h 2131"/>
                <a:gd name="T48" fmla="*/ 2147483647 w 2562"/>
                <a:gd name="T49" fmla="*/ 2147483647 h 2131"/>
                <a:gd name="T50" fmla="*/ 2147483647 w 2562"/>
                <a:gd name="T51" fmla="*/ 2147483647 h 2131"/>
                <a:gd name="T52" fmla="*/ 2147483647 w 2562"/>
                <a:gd name="T53" fmla="*/ 2147483647 h 2131"/>
                <a:gd name="T54" fmla="*/ 2147483647 w 2562"/>
                <a:gd name="T55" fmla="*/ 2147483647 h 2131"/>
                <a:gd name="T56" fmla="*/ 2147483647 w 2562"/>
                <a:gd name="T57" fmla="*/ 2147483647 h 2131"/>
                <a:gd name="T58" fmla="*/ 2147483647 w 2562"/>
                <a:gd name="T59" fmla="*/ 2147483647 h 2131"/>
                <a:gd name="T60" fmla="*/ 2147483647 w 2562"/>
                <a:gd name="T61" fmla="*/ 2147483647 h 2131"/>
                <a:gd name="T62" fmla="*/ 2147483647 w 2562"/>
                <a:gd name="T63" fmla="*/ 2147483647 h 2131"/>
                <a:gd name="T64" fmla="*/ 2147483647 w 2562"/>
                <a:gd name="T65" fmla="*/ 2147483647 h 2131"/>
                <a:gd name="T66" fmla="*/ 2147483647 w 2562"/>
                <a:gd name="T67" fmla="*/ 2147483647 h 2131"/>
                <a:gd name="T68" fmla="*/ 2147483647 w 2562"/>
                <a:gd name="T69" fmla="*/ 2147483647 h 2131"/>
                <a:gd name="T70" fmla="*/ 2147483647 w 2562"/>
                <a:gd name="T71" fmla="*/ 2147483647 h 2131"/>
                <a:gd name="T72" fmla="*/ 2147483647 w 2562"/>
                <a:gd name="T73" fmla="*/ 2147483647 h 2131"/>
                <a:gd name="T74" fmla="*/ 2147483647 w 2562"/>
                <a:gd name="T75" fmla="*/ 2147483647 h 2131"/>
                <a:gd name="T76" fmla="*/ 2147483647 w 2562"/>
                <a:gd name="T77" fmla="*/ 2147483647 h 2131"/>
                <a:gd name="T78" fmla="*/ 2147483647 w 2562"/>
                <a:gd name="T79" fmla="*/ 2147483647 h 2131"/>
                <a:gd name="T80" fmla="*/ 2147483647 w 2562"/>
                <a:gd name="T81" fmla="*/ 2147483647 h 2131"/>
                <a:gd name="T82" fmla="*/ 2147483647 w 2562"/>
                <a:gd name="T83" fmla="*/ 2147483647 h 2131"/>
                <a:gd name="T84" fmla="*/ 2147483647 w 2562"/>
                <a:gd name="T85" fmla="*/ 2147483647 h 2131"/>
                <a:gd name="T86" fmla="*/ 2147483647 w 2562"/>
                <a:gd name="T87" fmla="*/ 2147483647 h 2131"/>
                <a:gd name="T88" fmla="*/ 2147483647 w 2562"/>
                <a:gd name="T89" fmla="*/ 2147483647 h 2131"/>
                <a:gd name="T90" fmla="*/ 2147483647 w 2562"/>
                <a:gd name="T91" fmla="*/ 2147483647 h 2131"/>
                <a:gd name="T92" fmla="*/ 2147483647 w 2562"/>
                <a:gd name="T93" fmla="*/ 2147483647 h 2131"/>
                <a:gd name="T94" fmla="*/ 2147483647 w 2562"/>
                <a:gd name="T95" fmla="*/ 2147483647 h 2131"/>
                <a:gd name="T96" fmla="*/ 2147483647 w 2562"/>
                <a:gd name="T97" fmla="*/ 2147483647 h 2131"/>
                <a:gd name="T98" fmla="*/ 2147483647 w 2562"/>
                <a:gd name="T99" fmla="*/ 2147483647 h 2131"/>
                <a:gd name="T100" fmla="*/ 2147483647 w 2562"/>
                <a:gd name="T101" fmla="*/ 2147483647 h 2131"/>
                <a:gd name="T102" fmla="*/ 2147483647 w 2562"/>
                <a:gd name="T103" fmla="*/ 2147483647 h 2131"/>
                <a:gd name="T104" fmla="*/ 2147483647 w 2562"/>
                <a:gd name="T105" fmla="*/ 2147483647 h 2131"/>
                <a:gd name="T106" fmla="*/ 2147483647 w 2562"/>
                <a:gd name="T107" fmla="*/ 2147483647 h 213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562" h="2131">
                  <a:moveTo>
                    <a:pt x="2002" y="1457"/>
                  </a:moveTo>
                  <a:lnTo>
                    <a:pt x="1997" y="1427"/>
                  </a:lnTo>
                  <a:lnTo>
                    <a:pt x="2000" y="1427"/>
                  </a:lnTo>
                  <a:lnTo>
                    <a:pt x="2005" y="1427"/>
                  </a:lnTo>
                  <a:lnTo>
                    <a:pt x="2010" y="1427"/>
                  </a:lnTo>
                  <a:lnTo>
                    <a:pt x="2021" y="1433"/>
                  </a:lnTo>
                  <a:lnTo>
                    <a:pt x="2034" y="1441"/>
                  </a:lnTo>
                  <a:lnTo>
                    <a:pt x="2051" y="1451"/>
                  </a:lnTo>
                  <a:lnTo>
                    <a:pt x="2069" y="1470"/>
                  </a:lnTo>
                  <a:lnTo>
                    <a:pt x="2115" y="1510"/>
                  </a:lnTo>
                  <a:lnTo>
                    <a:pt x="2166" y="1548"/>
                  </a:lnTo>
                  <a:lnTo>
                    <a:pt x="2297" y="1639"/>
                  </a:lnTo>
                  <a:lnTo>
                    <a:pt x="2318" y="1649"/>
                  </a:lnTo>
                  <a:lnTo>
                    <a:pt x="2337" y="1663"/>
                  </a:lnTo>
                  <a:lnTo>
                    <a:pt x="2382" y="1682"/>
                  </a:lnTo>
                  <a:lnTo>
                    <a:pt x="2425" y="1698"/>
                  </a:lnTo>
                  <a:lnTo>
                    <a:pt x="2468" y="1708"/>
                  </a:lnTo>
                  <a:lnTo>
                    <a:pt x="2506" y="1719"/>
                  </a:lnTo>
                  <a:lnTo>
                    <a:pt x="2535" y="1724"/>
                  </a:lnTo>
                  <a:lnTo>
                    <a:pt x="2562" y="1727"/>
                  </a:lnTo>
                  <a:lnTo>
                    <a:pt x="2562" y="1601"/>
                  </a:lnTo>
                  <a:lnTo>
                    <a:pt x="2519" y="1583"/>
                  </a:lnTo>
                  <a:lnTo>
                    <a:pt x="2444" y="1550"/>
                  </a:lnTo>
                  <a:lnTo>
                    <a:pt x="2361" y="1510"/>
                  </a:lnTo>
                  <a:lnTo>
                    <a:pt x="2283" y="1473"/>
                  </a:lnTo>
                  <a:lnTo>
                    <a:pt x="2217" y="1435"/>
                  </a:lnTo>
                  <a:lnTo>
                    <a:pt x="2147" y="1392"/>
                  </a:lnTo>
                  <a:lnTo>
                    <a:pt x="2021" y="1312"/>
                  </a:lnTo>
                  <a:lnTo>
                    <a:pt x="1997" y="1296"/>
                  </a:lnTo>
                  <a:lnTo>
                    <a:pt x="1976" y="1280"/>
                  </a:lnTo>
                  <a:lnTo>
                    <a:pt x="1957" y="1264"/>
                  </a:lnTo>
                  <a:lnTo>
                    <a:pt x="1938" y="1243"/>
                  </a:lnTo>
                  <a:lnTo>
                    <a:pt x="1922" y="1221"/>
                  </a:lnTo>
                  <a:lnTo>
                    <a:pt x="1906" y="1194"/>
                  </a:lnTo>
                  <a:lnTo>
                    <a:pt x="1874" y="1133"/>
                  </a:lnTo>
                  <a:lnTo>
                    <a:pt x="1866" y="1114"/>
                  </a:lnTo>
                  <a:lnTo>
                    <a:pt x="1860" y="1095"/>
                  </a:lnTo>
                  <a:lnTo>
                    <a:pt x="1860" y="1077"/>
                  </a:lnTo>
                  <a:lnTo>
                    <a:pt x="1863" y="1058"/>
                  </a:lnTo>
                  <a:lnTo>
                    <a:pt x="1868" y="1039"/>
                  </a:lnTo>
                  <a:lnTo>
                    <a:pt x="1874" y="1020"/>
                  </a:lnTo>
                  <a:lnTo>
                    <a:pt x="1893" y="983"/>
                  </a:lnTo>
                  <a:lnTo>
                    <a:pt x="1917" y="948"/>
                  </a:lnTo>
                  <a:lnTo>
                    <a:pt x="1943" y="913"/>
                  </a:lnTo>
                  <a:lnTo>
                    <a:pt x="1989" y="852"/>
                  </a:lnTo>
                  <a:lnTo>
                    <a:pt x="2008" y="822"/>
                  </a:lnTo>
                  <a:lnTo>
                    <a:pt x="2021" y="790"/>
                  </a:lnTo>
                  <a:lnTo>
                    <a:pt x="2034" y="753"/>
                  </a:lnTo>
                  <a:lnTo>
                    <a:pt x="2042" y="713"/>
                  </a:lnTo>
                  <a:lnTo>
                    <a:pt x="2051" y="667"/>
                  </a:lnTo>
                  <a:lnTo>
                    <a:pt x="2053" y="613"/>
                  </a:lnTo>
                  <a:lnTo>
                    <a:pt x="2056" y="557"/>
                  </a:lnTo>
                  <a:lnTo>
                    <a:pt x="2053" y="493"/>
                  </a:lnTo>
                  <a:lnTo>
                    <a:pt x="2032" y="421"/>
                  </a:lnTo>
                  <a:lnTo>
                    <a:pt x="2010" y="356"/>
                  </a:lnTo>
                  <a:lnTo>
                    <a:pt x="1984" y="300"/>
                  </a:lnTo>
                  <a:lnTo>
                    <a:pt x="1954" y="252"/>
                  </a:lnTo>
                  <a:lnTo>
                    <a:pt x="1925" y="209"/>
                  </a:lnTo>
                  <a:lnTo>
                    <a:pt x="1895" y="174"/>
                  </a:lnTo>
                  <a:lnTo>
                    <a:pt x="1866" y="145"/>
                  </a:lnTo>
                  <a:lnTo>
                    <a:pt x="1836" y="121"/>
                  </a:lnTo>
                  <a:lnTo>
                    <a:pt x="1804" y="102"/>
                  </a:lnTo>
                  <a:lnTo>
                    <a:pt x="1767" y="83"/>
                  </a:lnTo>
                  <a:lnTo>
                    <a:pt x="1721" y="65"/>
                  </a:lnTo>
                  <a:lnTo>
                    <a:pt x="1670" y="49"/>
                  </a:lnTo>
                  <a:lnTo>
                    <a:pt x="1619" y="35"/>
                  </a:lnTo>
                  <a:lnTo>
                    <a:pt x="1566" y="25"/>
                  </a:lnTo>
                  <a:lnTo>
                    <a:pt x="1459" y="6"/>
                  </a:lnTo>
                  <a:lnTo>
                    <a:pt x="1435" y="0"/>
                  </a:lnTo>
                  <a:lnTo>
                    <a:pt x="1408" y="0"/>
                  </a:lnTo>
                  <a:lnTo>
                    <a:pt x="1354" y="3"/>
                  </a:lnTo>
                  <a:lnTo>
                    <a:pt x="1298" y="11"/>
                  </a:lnTo>
                  <a:lnTo>
                    <a:pt x="1245" y="25"/>
                  </a:lnTo>
                  <a:lnTo>
                    <a:pt x="1191" y="41"/>
                  </a:lnTo>
                  <a:lnTo>
                    <a:pt x="1140" y="59"/>
                  </a:lnTo>
                  <a:lnTo>
                    <a:pt x="1092" y="78"/>
                  </a:lnTo>
                  <a:lnTo>
                    <a:pt x="1047" y="97"/>
                  </a:lnTo>
                  <a:lnTo>
                    <a:pt x="1004" y="118"/>
                  </a:lnTo>
                  <a:lnTo>
                    <a:pt x="964" y="142"/>
                  </a:lnTo>
                  <a:lnTo>
                    <a:pt x="926" y="169"/>
                  </a:lnTo>
                  <a:lnTo>
                    <a:pt x="889" y="196"/>
                  </a:lnTo>
                  <a:lnTo>
                    <a:pt x="827" y="249"/>
                  </a:lnTo>
                  <a:lnTo>
                    <a:pt x="782" y="290"/>
                  </a:lnTo>
                  <a:lnTo>
                    <a:pt x="765" y="308"/>
                  </a:lnTo>
                  <a:lnTo>
                    <a:pt x="744" y="332"/>
                  </a:lnTo>
                  <a:lnTo>
                    <a:pt x="701" y="383"/>
                  </a:lnTo>
                  <a:lnTo>
                    <a:pt x="664" y="429"/>
                  </a:lnTo>
                  <a:lnTo>
                    <a:pt x="645" y="445"/>
                  </a:lnTo>
                  <a:lnTo>
                    <a:pt x="640" y="450"/>
                  </a:lnTo>
                  <a:lnTo>
                    <a:pt x="632" y="453"/>
                  </a:lnTo>
                  <a:lnTo>
                    <a:pt x="616" y="453"/>
                  </a:lnTo>
                  <a:lnTo>
                    <a:pt x="589" y="450"/>
                  </a:lnTo>
                  <a:lnTo>
                    <a:pt x="557" y="442"/>
                  </a:lnTo>
                  <a:lnTo>
                    <a:pt x="519" y="431"/>
                  </a:lnTo>
                  <a:lnTo>
                    <a:pt x="442" y="407"/>
                  </a:lnTo>
                  <a:lnTo>
                    <a:pt x="367" y="378"/>
                  </a:lnTo>
                  <a:lnTo>
                    <a:pt x="334" y="359"/>
                  </a:lnTo>
                  <a:lnTo>
                    <a:pt x="300" y="338"/>
                  </a:lnTo>
                  <a:lnTo>
                    <a:pt x="267" y="314"/>
                  </a:lnTo>
                  <a:lnTo>
                    <a:pt x="238" y="290"/>
                  </a:lnTo>
                  <a:lnTo>
                    <a:pt x="190" y="244"/>
                  </a:lnTo>
                  <a:lnTo>
                    <a:pt x="171" y="228"/>
                  </a:lnTo>
                  <a:lnTo>
                    <a:pt x="174" y="389"/>
                  </a:lnTo>
                  <a:lnTo>
                    <a:pt x="0" y="461"/>
                  </a:lnTo>
                  <a:lnTo>
                    <a:pt x="549" y="603"/>
                  </a:lnTo>
                  <a:lnTo>
                    <a:pt x="516" y="758"/>
                  </a:lnTo>
                  <a:lnTo>
                    <a:pt x="511" y="790"/>
                  </a:lnTo>
                  <a:lnTo>
                    <a:pt x="506" y="833"/>
                  </a:lnTo>
                  <a:lnTo>
                    <a:pt x="500" y="940"/>
                  </a:lnTo>
                  <a:lnTo>
                    <a:pt x="495" y="1055"/>
                  </a:lnTo>
                  <a:lnTo>
                    <a:pt x="498" y="1160"/>
                  </a:lnTo>
                  <a:lnTo>
                    <a:pt x="500" y="1210"/>
                  </a:lnTo>
                  <a:lnTo>
                    <a:pt x="506" y="1261"/>
                  </a:lnTo>
                  <a:lnTo>
                    <a:pt x="525" y="1366"/>
                  </a:lnTo>
                  <a:lnTo>
                    <a:pt x="541" y="1449"/>
                  </a:lnTo>
                  <a:lnTo>
                    <a:pt x="549" y="1481"/>
                  </a:lnTo>
                  <a:lnTo>
                    <a:pt x="120" y="1593"/>
                  </a:lnTo>
                  <a:lnTo>
                    <a:pt x="158" y="1716"/>
                  </a:lnTo>
                  <a:lnTo>
                    <a:pt x="597" y="1604"/>
                  </a:lnTo>
                  <a:lnTo>
                    <a:pt x="613" y="1636"/>
                  </a:lnTo>
                  <a:lnTo>
                    <a:pt x="634" y="1674"/>
                  </a:lnTo>
                  <a:lnTo>
                    <a:pt x="664" y="1722"/>
                  </a:lnTo>
                  <a:lnTo>
                    <a:pt x="699" y="1778"/>
                  </a:lnTo>
                  <a:lnTo>
                    <a:pt x="717" y="1807"/>
                  </a:lnTo>
                  <a:lnTo>
                    <a:pt x="739" y="1837"/>
                  </a:lnTo>
                  <a:lnTo>
                    <a:pt x="760" y="1864"/>
                  </a:lnTo>
                  <a:lnTo>
                    <a:pt x="787" y="1893"/>
                  </a:lnTo>
                  <a:lnTo>
                    <a:pt x="816" y="1920"/>
                  </a:lnTo>
                  <a:lnTo>
                    <a:pt x="851" y="1944"/>
                  </a:lnTo>
                  <a:lnTo>
                    <a:pt x="918" y="1987"/>
                  </a:lnTo>
                  <a:lnTo>
                    <a:pt x="966" y="2019"/>
                  </a:lnTo>
                  <a:lnTo>
                    <a:pt x="1030" y="2051"/>
                  </a:lnTo>
                  <a:lnTo>
                    <a:pt x="1140" y="2102"/>
                  </a:lnTo>
                  <a:lnTo>
                    <a:pt x="1194" y="2113"/>
                  </a:lnTo>
                  <a:lnTo>
                    <a:pt x="1247" y="2123"/>
                  </a:lnTo>
                  <a:lnTo>
                    <a:pt x="1296" y="2129"/>
                  </a:lnTo>
                  <a:lnTo>
                    <a:pt x="1341" y="2131"/>
                  </a:lnTo>
                  <a:lnTo>
                    <a:pt x="1384" y="2129"/>
                  </a:lnTo>
                  <a:lnTo>
                    <a:pt x="1421" y="2126"/>
                  </a:lnTo>
                  <a:lnTo>
                    <a:pt x="1459" y="2121"/>
                  </a:lnTo>
                  <a:lnTo>
                    <a:pt x="1494" y="2113"/>
                  </a:lnTo>
                  <a:lnTo>
                    <a:pt x="1528" y="2102"/>
                  </a:lnTo>
                  <a:lnTo>
                    <a:pt x="1561" y="2091"/>
                  </a:lnTo>
                  <a:lnTo>
                    <a:pt x="1619" y="2067"/>
                  </a:lnTo>
                  <a:lnTo>
                    <a:pt x="1732" y="2011"/>
                  </a:lnTo>
                  <a:lnTo>
                    <a:pt x="1759" y="1997"/>
                  </a:lnTo>
                  <a:lnTo>
                    <a:pt x="1783" y="1981"/>
                  </a:lnTo>
                  <a:lnTo>
                    <a:pt x="1807" y="1965"/>
                  </a:lnTo>
                  <a:lnTo>
                    <a:pt x="1828" y="1947"/>
                  </a:lnTo>
                  <a:lnTo>
                    <a:pt x="1866" y="1909"/>
                  </a:lnTo>
                  <a:lnTo>
                    <a:pt x="1901" y="1869"/>
                  </a:lnTo>
                  <a:lnTo>
                    <a:pt x="1927" y="1829"/>
                  </a:lnTo>
                  <a:lnTo>
                    <a:pt x="1954" y="1791"/>
                  </a:lnTo>
                  <a:lnTo>
                    <a:pt x="1997" y="1716"/>
                  </a:lnTo>
                  <a:lnTo>
                    <a:pt x="2005" y="1700"/>
                  </a:lnTo>
                  <a:lnTo>
                    <a:pt x="2013" y="1682"/>
                  </a:lnTo>
                  <a:lnTo>
                    <a:pt x="2016" y="1657"/>
                  </a:lnTo>
                  <a:lnTo>
                    <a:pt x="2018" y="1636"/>
                  </a:lnTo>
                  <a:lnTo>
                    <a:pt x="2021" y="1588"/>
                  </a:lnTo>
                  <a:lnTo>
                    <a:pt x="2016" y="1540"/>
                  </a:lnTo>
                  <a:lnTo>
                    <a:pt x="2010" y="1497"/>
                  </a:lnTo>
                  <a:lnTo>
                    <a:pt x="2005" y="1462"/>
                  </a:lnTo>
                  <a:lnTo>
                    <a:pt x="1997" y="1427"/>
                  </a:lnTo>
                </a:path>
              </a:pathLst>
            </a:custGeom>
            <a:noFill/>
            <a:ln w="11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 sz="1400" dirty="0">
                <a:solidFill>
                  <a:srgbClr val="9A8B7D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17611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C23666-2974-493A-AF2E-F0DB58E6AA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524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C23666-2974-493A-AF2E-F0DB58E6AA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7F6C7A13-73ED-4FEA-B037-CCD6B43753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BE" sz="27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2" name="Picture 1" descr="A person wearing a hat talking on a cell phone&#10;&#10;Description automatically generated">
            <a:extLst>
              <a:ext uri="{FF2B5EF4-FFF2-40B4-BE49-F238E27FC236}">
                <a16:creationId xmlns:a16="http://schemas.microsoft.com/office/drawing/2014/main" id="{E0E7BA81-D002-4CBC-880C-EDDE5444B18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39113"/>
            <a:ext cx="3024627" cy="3979773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31759344-8654-4908-80DC-7523E6291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BE" dirty="0"/>
              <a:t>Pourquoi sommes-nous plus souvent malades en hiver?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755DD8C-EA56-4C35-9A49-6B20CFB09A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6004" y="1141900"/>
            <a:ext cx="5412554" cy="5017360"/>
          </a:xfrm>
        </p:spPr>
        <p:txBody>
          <a:bodyPr>
            <a:normAutofit lnSpcReduction="10000"/>
          </a:bodyPr>
          <a:lstStyle/>
          <a:p>
            <a:r>
              <a:rPr lang="fr-FR" b="1" dirty="0"/>
              <a:t>Confinement et manque d'aération</a:t>
            </a:r>
            <a:endParaRPr lang="fr-BE" b="1" dirty="0"/>
          </a:p>
          <a:p>
            <a:r>
              <a:rPr lang="fr-FR" b="1" dirty="0"/>
              <a:t>Le froid indirectement impliqué</a:t>
            </a:r>
            <a:endParaRPr lang="fr-BE" b="1" dirty="0"/>
          </a:p>
          <a:p>
            <a:pPr lvl="1"/>
            <a:r>
              <a:rPr lang="fr-BE" dirty="0"/>
              <a:t>facilite la pénétration des virus respiratoires dans nos organismes (muqueuses asséchées)</a:t>
            </a:r>
          </a:p>
          <a:p>
            <a:pPr lvl="1"/>
            <a:r>
              <a:rPr lang="fr-BE" dirty="0"/>
              <a:t>froid et l’air sec permettent aux aérosols riches en virus de rester en suspension plus longtemps </a:t>
            </a:r>
          </a:p>
          <a:p>
            <a:pPr lvl="1"/>
            <a:r>
              <a:rPr lang="fr-BE" dirty="0"/>
              <a:t>ralentit également notre système immunitaire</a:t>
            </a:r>
          </a:p>
          <a:p>
            <a:pPr lvl="1"/>
            <a:r>
              <a:rPr lang="fr-BE" dirty="0"/>
              <a:t>notre système circulatoire distribue le sang distribué aux organes au détriment des extrémités (pieds, mains, nez, oreilles) </a:t>
            </a:r>
            <a:r>
              <a:rPr lang="fr-BE" dirty="0">
                <a:sym typeface="Wingdings" panose="05000000000000000000" pitchFamily="2" charset="2"/>
              </a:rPr>
              <a:t> refroidissement  </a:t>
            </a:r>
            <a:r>
              <a:rPr lang="fr-BE" dirty="0"/>
              <a:t>ralentissement de la vitesse de la réponse immunitaire innée locale</a:t>
            </a:r>
          </a:p>
          <a:p>
            <a:pPr lvl="1"/>
            <a:r>
              <a:rPr lang="fr-BE" dirty="0"/>
              <a:t>les particules fines de la pollution atmosphérique stagnent </a:t>
            </a:r>
            <a:r>
              <a:rPr lang="fr-BE" dirty="0">
                <a:sym typeface="Wingdings" panose="05000000000000000000" pitchFamily="2" charset="2"/>
              </a:rPr>
              <a:t></a:t>
            </a:r>
            <a:r>
              <a:rPr lang="fr-BE" dirty="0"/>
              <a:t> augmentent l’exposition </a:t>
            </a:r>
            <a:r>
              <a:rPr lang="fr-BE" dirty="0">
                <a:sym typeface="Wingdings" panose="05000000000000000000" pitchFamily="2" charset="2"/>
              </a:rPr>
              <a:t> bronches irritées  </a:t>
            </a:r>
            <a:r>
              <a:rPr lang="fr-BE" dirty="0"/>
              <a:t>augmente le nombre de protéines ICAM-1, (‘serrures’ par lesquelles les rhinovirus entrent dans les cellules et les infectent)</a:t>
            </a:r>
          </a:p>
          <a:p>
            <a:r>
              <a:rPr lang="fr-FR" b="1" dirty="0"/>
              <a:t>Les virus sont plus résistants face au froid</a:t>
            </a:r>
          </a:p>
          <a:p>
            <a:r>
              <a:rPr lang="fr-FR" b="1" dirty="0"/>
              <a:t>L’alimentation en cause</a:t>
            </a:r>
            <a:endParaRPr lang="fr-BE" b="1" dirty="0"/>
          </a:p>
          <a:p>
            <a:r>
              <a:rPr lang="fr-FR" b="1" dirty="0"/>
              <a:t>Les carences en vitamine D</a:t>
            </a:r>
            <a:endParaRPr lang="fr-BE" b="1" dirty="0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F1E3CDEA-ECA3-4E29-9306-767C57965C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539580" tIns="45720" rIns="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6209861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ynnVO6ua0UL99d88Gq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9gEJJlYGqF9EwGBaBU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.zPBpRcALQebvzVyll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qaWxQl9LQijoWMeLyd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JA88OIA1orJMD_ghuqA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G8im2_S9yx44Xvnn.A8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v5PENvRDIoNFDIk.93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1.imrdKQ7QxhJctt1dq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UDNF">
  <a:themeElements>
    <a:clrScheme name="Custom 3">
      <a:dk1>
        <a:srgbClr val="24213E"/>
      </a:dk1>
      <a:lt1>
        <a:sysClr val="window" lastClr="FFFFFF"/>
      </a:lt1>
      <a:dk2>
        <a:srgbClr val="24213E"/>
      </a:dk2>
      <a:lt2>
        <a:srgbClr val="E9EAF0"/>
      </a:lt2>
      <a:accent1>
        <a:srgbClr val="E8BC4A"/>
      </a:accent1>
      <a:accent2>
        <a:srgbClr val="83C1C6"/>
      </a:accent2>
      <a:accent3>
        <a:srgbClr val="E78D35"/>
      </a:accent3>
      <a:accent4>
        <a:srgbClr val="909CE1"/>
      </a:accent4>
      <a:accent5>
        <a:srgbClr val="839C41"/>
      </a:accent5>
      <a:accent6>
        <a:srgbClr val="CC5439"/>
      </a:accent6>
      <a:hlink>
        <a:srgbClr val="1C6CF1"/>
      </a:hlink>
      <a:folHlink>
        <a:srgbClr val="C649E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Austin">
      <a:fillStyleLst>
        <a:solidFill>
          <a:schemeClr val="phClr"/>
        </a:solidFill>
        <a:gradFill rotWithShape="1">
          <a:gsLst>
            <a:gs pos="0">
              <a:schemeClr val="phClr">
                <a:tint val="20000"/>
                <a:satMod val="180000"/>
                <a:lumMod val="98000"/>
              </a:schemeClr>
            </a:gs>
            <a:gs pos="40000">
              <a:schemeClr val="phClr">
                <a:tint val="30000"/>
                <a:satMod val="260000"/>
                <a:lumMod val="84000"/>
              </a:schemeClr>
            </a:gs>
            <a:gs pos="100000">
              <a:schemeClr val="phClr">
                <a:tint val="100000"/>
                <a:satMod val="110000"/>
                <a:lumMod val="100000"/>
              </a:schemeClr>
            </a:gs>
          </a:gsLst>
          <a:lin ang="5040000" scaled="1"/>
        </a:gradFill>
        <a:gradFill rotWithShape="1">
          <a:gsLst>
            <a:gs pos="0">
              <a:schemeClr val="phClr"/>
            </a:gs>
            <a:gs pos="100000">
              <a:schemeClr val="phClr">
                <a:shade val="75000"/>
                <a:satMod val="120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20400000"/>
            </a:lightRig>
          </a:scene3d>
          <a:sp3d>
            <a:bevelT w="50800" h="12700" prst="softRound"/>
          </a:sp3d>
        </a:effectStyle>
        <a:effectStyle>
          <a:effectLst>
            <a:outerShdw blurRad="44450" dist="50800" dir="5400000" sx="96000" rotWithShape="0">
              <a:srgbClr val="000000">
                <a:alpha val="34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20400000"/>
            </a:lightRig>
          </a:scene3d>
          <a:sp3d contourW="15875" prstMaterial="metal">
            <a:bevelT w="101600" h="25400" prst="softRound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94000"/>
                <a:satMod val="114000"/>
                <a:lumMod val="96000"/>
              </a:schemeClr>
            </a:gs>
            <a:gs pos="62000">
              <a:schemeClr val="phClr">
                <a:tint val="92000"/>
                <a:shade val="66000"/>
                <a:satMod val="110000"/>
                <a:lumMod val="80000"/>
              </a:schemeClr>
            </a:gs>
            <a:gs pos="100000">
              <a:schemeClr val="phClr">
                <a:tint val="89000"/>
                <a:shade val="62000"/>
                <a:satMod val="110000"/>
                <a:lumMod val="72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tint val="80000"/>
                <a:shade val="58000"/>
              </a:schemeClr>
              <a:schemeClr val="phClr">
                <a:tint val="73000"/>
                <a:shade val="68000"/>
                <a:satMod val="15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5FDC55B7FA9A841AA586899F354A20E" ma:contentTypeVersion="13" ma:contentTypeDescription="Create a new document." ma:contentTypeScope="" ma:versionID="aedfdb2f544d645afbcd79590f696e94">
  <xsd:schema xmlns:xsd="http://www.w3.org/2001/XMLSchema" xmlns:xs="http://www.w3.org/2001/XMLSchema" xmlns:p="http://schemas.microsoft.com/office/2006/metadata/properties" xmlns:ns3="6f207337-3b45-439a-8573-ba527b526e3c" xmlns:ns4="ed15bff6-9927-4fff-a429-9c0688231c5b" targetNamespace="http://schemas.microsoft.com/office/2006/metadata/properties" ma:root="true" ma:fieldsID="74ad07d1fa206fe12f4e7af491a68676" ns3:_="" ns4:_="">
    <xsd:import namespace="6f207337-3b45-439a-8573-ba527b526e3c"/>
    <xsd:import namespace="ed15bff6-9927-4fff-a429-9c0688231c5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207337-3b45-439a-8573-ba527b526e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15bff6-9927-4fff-a429-9c0688231c5b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E3A7127-A7D1-44F6-A57B-6354EC341309}">
  <ds:schemaRefs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6f207337-3b45-439a-8573-ba527b526e3c"/>
    <ds:schemaRef ds:uri="http://purl.org/dc/terms/"/>
    <ds:schemaRef ds:uri="ed15bff6-9927-4fff-a429-9c0688231c5b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1651138-5560-400D-9A12-320D9A02DFE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CB0D49F-FDF4-42D2-9069-524C5FA4D6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f207337-3b45-439a-8573-ba527b526e3c"/>
    <ds:schemaRef ds:uri="ed15bff6-9927-4fff-a429-9c0688231c5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83</Words>
  <Application>Microsoft Office PowerPoint</Application>
  <PresentationFormat>On-screen Show (4:3)</PresentationFormat>
  <Paragraphs>176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rial</vt:lpstr>
      <vt:lpstr>Calibri</vt:lpstr>
      <vt:lpstr>Courier New</vt:lpstr>
      <vt:lpstr>Gill Sans Nova Cond Lt</vt:lpstr>
      <vt:lpstr>Open Sans</vt:lpstr>
      <vt:lpstr>Symbol</vt:lpstr>
      <vt:lpstr>Wingdings 2</vt:lpstr>
      <vt:lpstr>UDNF</vt:lpstr>
      <vt:lpstr>think-cell Slide</vt:lpstr>
      <vt:lpstr>Comment booster votre système immunitaire ?</vt:lpstr>
      <vt:lpstr>PowerPoint Presentation</vt:lpstr>
      <vt:lpstr>PowerPoint Presentation</vt:lpstr>
      <vt:lpstr>Coronavirus, une apparence en forme de couronne</vt:lpstr>
      <vt:lpstr>Coronavirus : que se passe-t-il si vous êtes positifs ?</vt:lpstr>
      <vt:lpstr>PowerPoint Presentation</vt:lpstr>
      <vt:lpstr>Le système immunitaire</vt:lpstr>
      <vt:lpstr>PowerPoint Presentation</vt:lpstr>
      <vt:lpstr>Pourquoi sommes-nous plus souvent malades en hiver?</vt:lpstr>
      <vt:lpstr>PowerPoint Presentation</vt:lpstr>
      <vt:lpstr>PowerPoint Presentation</vt:lpstr>
      <vt:lpstr>PowerPoint Presentation</vt:lpstr>
      <vt:lpstr>N’oubliez pas aussi les quelques gestes simpl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tricia Bourguignon</dc:creator>
  <cp:lastModifiedBy>Patricia Bourguignon</cp:lastModifiedBy>
  <cp:revision>822</cp:revision>
  <dcterms:created xsi:type="dcterms:W3CDTF">2018-11-26T07:08:22Z</dcterms:created>
  <dcterms:modified xsi:type="dcterms:W3CDTF">2020-11-07T11:29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5FDC55B7FA9A841AA586899F354A20E</vt:lpwstr>
  </property>
</Properties>
</file>